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603" r:id="rId2"/>
    <p:sldId id="753" r:id="rId3"/>
    <p:sldId id="746" r:id="rId4"/>
    <p:sldId id="748" r:id="rId5"/>
    <p:sldId id="749" r:id="rId6"/>
    <p:sldId id="745" r:id="rId7"/>
    <p:sldId id="747" r:id="rId8"/>
    <p:sldId id="751" r:id="rId9"/>
    <p:sldId id="752" r:id="rId10"/>
    <p:sldId id="750" r:id="rId11"/>
  </p:sldIdLst>
  <p:sldSz cx="12192000" cy="6858000"/>
  <p:notesSz cx="6858000" cy="9144000"/>
  <p:custDataLst>
    <p:tags r:id="rId13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ser" initials="u" lastIdx="1" clrIdx="0">
    <p:extLst>
      <p:ext uri="{19B8F6BF-5375-455C-9EA6-DF929625EA0E}">
        <p15:presenceInfo xmlns:p15="http://schemas.microsoft.com/office/powerpoint/2012/main" userId="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73FF1"/>
    <a:srgbClr val="E84EB5"/>
    <a:srgbClr val="F3A36D"/>
    <a:srgbClr val="F49914"/>
    <a:srgbClr val="BC5CDA"/>
    <a:srgbClr val="18DBF0"/>
    <a:srgbClr val="FF3399"/>
    <a:srgbClr val="FF9900"/>
    <a:srgbClr val="F725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643"/>
  </p:normalViewPr>
  <p:slideViewPr>
    <p:cSldViewPr snapToGrid="0">
      <p:cViewPr varScale="1">
        <p:scale>
          <a:sx n="110" d="100"/>
          <a:sy n="110" d="100"/>
        </p:scale>
        <p:origin x="63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8D230C-ABA7-42F5-8B13-100FD05A9509}" type="doc">
      <dgm:prSet loTypeId="urn:microsoft.com/office/officeart/2005/8/layout/radial5" loCatId="cycle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tr-TR"/>
        </a:p>
      </dgm:t>
    </dgm:pt>
    <dgm:pt modelId="{3789CCB7-0006-480E-A5D8-125E8FEF4808}">
      <dgm:prSet phldrT="[Metin]" custT="1"/>
      <dgm:spPr/>
      <dgm:t>
        <a:bodyPr/>
        <a:lstStyle/>
        <a:p>
          <a:r>
            <a:rPr lang="tr-TR" sz="1200" b="1" dirty="0"/>
            <a:t>AKILLI SAYAÇ BİLEŞENLERİ</a:t>
          </a:r>
        </a:p>
      </dgm:t>
    </dgm:pt>
    <dgm:pt modelId="{ED0D0AF6-B327-4EEF-AC36-48CF799366BE}" type="parTrans" cxnId="{E804E107-3426-4E75-8D05-5995A826316D}">
      <dgm:prSet/>
      <dgm:spPr/>
      <dgm:t>
        <a:bodyPr/>
        <a:lstStyle/>
        <a:p>
          <a:endParaRPr lang="tr-TR"/>
        </a:p>
      </dgm:t>
    </dgm:pt>
    <dgm:pt modelId="{C76E81E4-5EA2-426E-99AA-6009E1D48609}" type="sibTrans" cxnId="{E804E107-3426-4E75-8D05-5995A826316D}">
      <dgm:prSet/>
      <dgm:spPr/>
      <dgm:t>
        <a:bodyPr/>
        <a:lstStyle/>
        <a:p>
          <a:endParaRPr lang="tr-TR"/>
        </a:p>
      </dgm:t>
    </dgm:pt>
    <dgm:pt modelId="{3902D225-C90A-42BE-B091-EFF75DDC924F}">
      <dgm:prSet phldrT="[Metin]" custT="1"/>
      <dgm:spPr/>
      <dgm:t>
        <a:bodyPr/>
        <a:lstStyle/>
        <a:p>
          <a:r>
            <a:rPr lang="tr-TR" sz="1200" dirty="0"/>
            <a:t>GÜVENLİK</a:t>
          </a:r>
          <a:endParaRPr lang="tr-TR" sz="800" dirty="0"/>
        </a:p>
      </dgm:t>
    </dgm:pt>
    <dgm:pt modelId="{ABE381D9-2970-48D1-AE94-9A100E2E4537}" type="parTrans" cxnId="{EB52BC4C-7A56-4722-8D23-5B893679279F}">
      <dgm:prSet/>
      <dgm:spPr/>
      <dgm:t>
        <a:bodyPr/>
        <a:lstStyle/>
        <a:p>
          <a:endParaRPr lang="tr-TR"/>
        </a:p>
      </dgm:t>
    </dgm:pt>
    <dgm:pt modelId="{F9BB1E22-D338-4F63-8DDF-E8AFF188EF2E}" type="sibTrans" cxnId="{EB52BC4C-7A56-4722-8D23-5B893679279F}">
      <dgm:prSet/>
      <dgm:spPr/>
      <dgm:t>
        <a:bodyPr/>
        <a:lstStyle/>
        <a:p>
          <a:endParaRPr lang="tr-TR"/>
        </a:p>
      </dgm:t>
    </dgm:pt>
    <dgm:pt modelId="{56CEF8FD-63EC-41D2-9512-67F023F10AF5}">
      <dgm:prSet phldrT="[Metin]" custT="1"/>
      <dgm:spPr/>
      <dgm:t>
        <a:bodyPr/>
        <a:lstStyle/>
        <a:p>
          <a:r>
            <a:rPr lang="tr-TR" sz="1200" dirty="0"/>
            <a:t>MEVZUAT</a:t>
          </a:r>
          <a:endParaRPr lang="tr-TR" sz="1300" dirty="0"/>
        </a:p>
      </dgm:t>
    </dgm:pt>
    <dgm:pt modelId="{EC27A84B-49C8-48D3-8FA1-4C39045D5C4D}" type="parTrans" cxnId="{EA0ABB6F-39D3-4720-A614-F2327C5F3144}">
      <dgm:prSet/>
      <dgm:spPr/>
      <dgm:t>
        <a:bodyPr/>
        <a:lstStyle/>
        <a:p>
          <a:endParaRPr lang="tr-TR"/>
        </a:p>
      </dgm:t>
    </dgm:pt>
    <dgm:pt modelId="{7216A8FF-D1AE-47CC-85E5-F825269EC86D}" type="sibTrans" cxnId="{EA0ABB6F-39D3-4720-A614-F2327C5F3144}">
      <dgm:prSet/>
      <dgm:spPr/>
      <dgm:t>
        <a:bodyPr/>
        <a:lstStyle/>
        <a:p>
          <a:endParaRPr lang="tr-TR"/>
        </a:p>
      </dgm:t>
    </dgm:pt>
    <dgm:pt modelId="{B7155029-659B-4CDD-8992-F77B4D6683CF}">
      <dgm:prSet phldrT="[Metin]" custT="1"/>
      <dgm:spPr/>
      <dgm:t>
        <a:bodyPr/>
        <a:lstStyle/>
        <a:p>
          <a:r>
            <a:rPr lang="tr-TR" sz="1200" dirty="0"/>
            <a:t>MODEM</a:t>
          </a:r>
          <a:endParaRPr lang="tr-TR" sz="1500" dirty="0"/>
        </a:p>
      </dgm:t>
    </dgm:pt>
    <dgm:pt modelId="{A5BA6F80-6DE9-473A-B93B-FA04810ABB00}" type="parTrans" cxnId="{A26448F6-26D1-4981-91C9-C343D6553195}">
      <dgm:prSet/>
      <dgm:spPr/>
      <dgm:t>
        <a:bodyPr/>
        <a:lstStyle/>
        <a:p>
          <a:endParaRPr lang="tr-TR"/>
        </a:p>
      </dgm:t>
    </dgm:pt>
    <dgm:pt modelId="{49DB1411-0135-41A4-870A-2CA57CD90A4A}" type="sibTrans" cxnId="{A26448F6-26D1-4981-91C9-C343D6553195}">
      <dgm:prSet/>
      <dgm:spPr/>
      <dgm:t>
        <a:bodyPr/>
        <a:lstStyle/>
        <a:p>
          <a:endParaRPr lang="tr-TR"/>
        </a:p>
      </dgm:t>
    </dgm:pt>
    <dgm:pt modelId="{D545126E-B428-4ECF-ABC3-CAFB51DF659D}">
      <dgm:prSet phldrT="[Metin]" custT="1"/>
      <dgm:spPr>
        <a:solidFill>
          <a:srgbClr val="7030A0"/>
        </a:solidFill>
      </dgm:spPr>
      <dgm:t>
        <a:bodyPr/>
        <a:lstStyle/>
        <a:p>
          <a:r>
            <a:rPr lang="tr-TR" sz="1200" b="1" dirty="0"/>
            <a:t>DONANIM</a:t>
          </a:r>
          <a:endParaRPr lang="tr-TR" sz="800" b="1" dirty="0"/>
        </a:p>
      </dgm:t>
    </dgm:pt>
    <dgm:pt modelId="{16E664DF-7735-4759-8FAC-7BDF31D7B693}" type="parTrans" cxnId="{0402CD97-BEE1-4BB0-87C7-4C1FA2E740DF}">
      <dgm:prSet/>
      <dgm:spPr/>
      <dgm:t>
        <a:bodyPr/>
        <a:lstStyle/>
        <a:p>
          <a:endParaRPr lang="tr-TR"/>
        </a:p>
      </dgm:t>
    </dgm:pt>
    <dgm:pt modelId="{AA526434-9EFF-4E5D-B4B7-D7AF5721FAB4}" type="sibTrans" cxnId="{0402CD97-BEE1-4BB0-87C7-4C1FA2E740DF}">
      <dgm:prSet/>
      <dgm:spPr>
        <a:solidFill>
          <a:srgbClr val="7030A0"/>
        </a:solidFill>
      </dgm:spPr>
      <dgm:t>
        <a:bodyPr/>
        <a:lstStyle/>
        <a:p>
          <a:endParaRPr lang="tr-TR"/>
        </a:p>
      </dgm:t>
    </dgm:pt>
    <dgm:pt modelId="{94DECB00-A181-4FE7-A096-9EC9BAC8851E}">
      <dgm:prSet custT="1"/>
      <dgm:spPr/>
      <dgm:t>
        <a:bodyPr/>
        <a:lstStyle/>
        <a:p>
          <a:r>
            <a:rPr lang="tr-TR" sz="1100" dirty="0"/>
            <a:t>HABERLEŞME</a:t>
          </a:r>
          <a:endParaRPr lang="tr-TR" sz="1000" dirty="0"/>
        </a:p>
      </dgm:t>
    </dgm:pt>
    <dgm:pt modelId="{6A71EAC9-D7C3-465A-9D9D-A529A1B9CCEB}" type="parTrans" cxnId="{3FE439F9-6CE5-49DE-819C-2607416AE873}">
      <dgm:prSet/>
      <dgm:spPr/>
      <dgm:t>
        <a:bodyPr/>
        <a:lstStyle/>
        <a:p>
          <a:endParaRPr lang="tr-TR"/>
        </a:p>
      </dgm:t>
    </dgm:pt>
    <dgm:pt modelId="{E90A7B01-C8B6-4171-AE93-5A861A21C5E6}" type="sibTrans" cxnId="{3FE439F9-6CE5-49DE-819C-2607416AE873}">
      <dgm:prSet/>
      <dgm:spPr/>
      <dgm:t>
        <a:bodyPr/>
        <a:lstStyle/>
        <a:p>
          <a:endParaRPr lang="tr-TR"/>
        </a:p>
      </dgm:t>
    </dgm:pt>
    <dgm:pt modelId="{C2A0A35B-B79C-4814-9894-D48D25EA91F4}">
      <dgm:prSet custT="1"/>
      <dgm:spPr/>
      <dgm:t>
        <a:bodyPr/>
        <a:lstStyle/>
        <a:p>
          <a:r>
            <a:rPr lang="tr-TR" sz="1100" dirty="0"/>
            <a:t>TEKNOLOJİ</a:t>
          </a:r>
          <a:endParaRPr lang="tr-TR" sz="1000" dirty="0"/>
        </a:p>
      </dgm:t>
    </dgm:pt>
    <dgm:pt modelId="{75A557DD-E917-45D7-80C9-BB6FFBBDDAB4}" type="parTrans" cxnId="{BEFEEA09-8F2E-41D6-AC56-3969E3B1A42E}">
      <dgm:prSet/>
      <dgm:spPr/>
      <dgm:t>
        <a:bodyPr/>
        <a:lstStyle/>
        <a:p>
          <a:endParaRPr lang="tr-TR"/>
        </a:p>
      </dgm:t>
    </dgm:pt>
    <dgm:pt modelId="{D21B2971-560F-40E8-8ABB-8AB1CD43E3C2}" type="sibTrans" cxnId="{BEFEEA09-8F2E-41D6-AC56-3969E3B1A42E}">
      <dgm:prSet/>
      <dgm:spPr/>
      <dgm:t>
        <a:bodyPr/>
        <a:lstStyle/>
        <a:p>
          <a:endParaRPr lang="tr-TR"/>
        </a:p>
      </dgm:t>
    </dgm:pt>
    <dgm:pt modelId="{66ADDD2E-B816-4D3D-8C16-8FB23E2F03E8}" type="pres">
      <dgm:prSet presAssocID="{A18D230C-ABA7-42F5-8B13-100FD05A9509}" presName="Name0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51F60CFF-603B-404B-B7DA-F91968569E90}" type="pres">
      <dgm:prSet presAssocID="{3789CCB7-0006-480E-A5D8-125E8FEF4808}" presName="centerShape" presStyleLbl="node0" presStyleIdx="0" presStyleCnt="1"/>
      <dgm:spPr/>
    </dgm:pt>
    <dgm:pt modelId="{C4BC9E3D-E779-48B1-B32A-57F0DFB16BA8}" type="pres">
      <dgm:prSet presAssocID="{ABE381D9-2970-48D1-AE94-9A100E2E4537}" presName="parTrans" presStyleLbl="sibTrans2D1" presStyleIdx="0" presStyleCnt="6"/>
      <dgm:spPr/>
    </dgm:pt>
    <dgm:pt modelId="{568F5758-774B-4610-AB00-AB580618A81D}" type="pres">
      <dgm:prSet presAssocID="{ABE381D9-2970-48D1-AE94-9A100E2E4537}" presName="connectorText" presStyleLbl="sibTrans2D1" presStyleIdx="0" presStyleCnt="6"/>
      <dgm:spPr/>
    </dgm:pt>
    <dgm:pt modelId="{2F3CF209-068F-42AE-A484-A314E04017DF}" type="pres">
      <dgm:prSet presAssocID="{3902D225-C90A-42BE-B091-EFF75DDC924F}" presName="node" presStyleLbl="node1" presStyleIdx="0" presStyleCnt="6">
        <dgm:presLayoutVars>
          <dgm:bulletEnabled val="1"/>
        </dgm:presLayoutVars>
      </dgm:prSet>
      <dgm:spPr/>
    </dgm:pt>
    <dgm:pt modelId="{0C41027B-3899-49F2-97EA-8968D191E8C1}" type="pres">
      <dgm:prSet presAssocID="{75A557DD-E917-45D7-80C9-BB6FFBBDDAB4}" presName="parTrans" presStyleLbl="sibTrans2D1" presStyleIdx="1" presStyleCnt="6"/>
      <dgm:spPr/>
    </dgm:pt>
    <dgm:pt modelId="{31E45429-498B-4A5A-A670-1FAADE4A1A52}" type="pres">
      <dgm:prSet presAssocID="{75A557DD-E917-45D7-80C9-BB6FFBBDDAB4}" presName="connectorText" presStyleLbl="sibTrans2D1" presStyleIdx="1" presStyleCnt="6"/>
      <dgm:spPr/>
    </dgm:pt>
    <dgm:pt modelId="{557AD706-067B-44AC-B95A-D2792ED5B68E}" type="pres">
      <dgm:prSet presAssocID="{C2A0A35B-B79C-4814-9894-D48D25EA91F4}" presName="node" presStyleLbl="node1" presStyleIdx="1" presStyleCnt="6">
        <dgm:presLayoutVars>
          <dgm:bulletEnabled val="1"/>
        </dgm:presLayoutVars>
      </dgm:prSet>
      <dgm:spPr/>
    </dgm:pt>
    <dgm:pt modelId="{00163324-EAC1-4C04-A7E3-E07C487C1979}" type="pres">
      <dgm:prSet presAssocID="{EC27A84B-49C8-48D3-8FA1-4C39045D5C4D}" presName="parTrans" presStyleLbl="sibTrans2D1" presStyleIdx="2" presStyleCnt="6"/>
      <dgm:spPr/>
    </dgm:pt>
    <dgm:pt modelId="{428CC874-4BB8-4B4C-A227-4031411CFA60}" type="pres">
      <dgm:prSet presAssocID="{EC27A84B-49C8-48D3-8FA1-4C39045D5C4D}" presName="connectorText" presStyleLbl="sibTrans2D1" presStyleIdx="2" presStyleCnt="6"/>
      <dgm:spPr/>
    </dgm:pt>
    <dgm:pt modelId="{86DCFCAB-5066-4960-91B4-A9829B16591B}" type="pres">
      <dgm:prSet presAssocID="{56CEF8FD-63EC-41D2-9512-67F023F10AF5}" presName="node" presStyleLbl="node1" presStyleIdx="2" presStyleCnt="6">
        <dgm:presLayoutVars>
          <dgm:bulletEnabled val="1"/>
        </dgm:presLayoutVars>
      </dgm:prSet>
      <dgm:spPr/>
    </dgm:pt>
    <dgm:pt modelId="{352271A2-0EAC-48D8-9783-D81AC4E56B8F}" type="pres">
      <dgm:prSet presAssocID="{A5BA6F80-6DE9-473A-B93B-FA04810ABB00}" presName="parTrans" presStyleLbl="sibTrans2D1" presStyleIdx="3" presStyleCnt="6"/>
      <dgm:spPr/>
    </dgm:pt>
    <dgm:pt modelId="{1382E84B-54DC-4A38-81CB-F322425DFD20}" type="pres">
      <dgm:prSet presAssocID="{A5BA6F80-6DE9-473A-B93B-FA04810ABB00}" presName="connectorText" presStyleLbl="sibTrans2D1" presStyleIdx="3" presStyleCnt="6"/>
      <dgm:spPr/>
    </dgm:pt>
    <dgm:pt modelId="{9DEB7DAF-0B5A-4525-8CE6-4773FEB375F3}" type="pres">
      <dgm:prSet presAssocID="{B7155029-659B-4CDD-8992-F77B4D6683CF}" presName="node" presStyleLbl="node1" presStyleIdx="3" presStyleCnt="6">
        <dgm:presLayoutVars>
          <dgm:bulletEnabled val="1"/>
        </dgm:presLayoutVars>
      </dgm:prSet>
      <dgm:spPr/>
    </dgm:pt>
    <dgm:pt modelId="{D0188858-DBB6-42E9-8409-2AADC715B65E}" type="pres">
      <dgm:prSet presAssocID="{6A71EAC9-D7C3-465A-9D9D-A529A1B9CCEB}" presName="parTrans" presStyleLbl="sibTrans2D1" presStyleIdx="4" presStyleCnt="6"/>
      <dgm:spPr/>
    </dgm:pt>
    <dgm:pt modelId="{91E73CBA-67BF-4189-A3A4-8C5AD2F99C0A}" type="pres">
      <dgm:prSet presAssocID="{6A71EAC9-D7C3-465A-9D9D-A529A1B9CCEB}" presName="connectorText" presStyleLbl="sibTrans2D1" presStyleIdx="4" presStyleCnt="6"/>
      <dgm:spPr/>
    </dgm:pt>
    <dgm:pt modelId="{6379CFBA-0C07-4E9E-A9C0-DD321E63E226}" type="pres">
      <dgm:prSet presAssocID="{94DECB00-A181-4FE7-A096-9EC9BAC8851E}" presName="node" presStyleLbl="node1" presStyleIdx="4" presStyleCnt="6">
        <dgm:presLayoutVars>
          <dgm:bulletEnabled val="1"/>
        </dgm:presLayoutVars>
      </dgm:prSet>
      <dgm:spPr/>
    </dgm:pt>
    <dgm:pt modelId="{652EB58D-5288-4308-A78B-3F39AA19825F}" type="pres">
      <dgm:prSet presAssocID="{16E664DF-7735-4759-8FAC-7BDF31D7B693}" presName="parTrans" presStyleLbl="sibTrans2D1" presStyleIdx="5" presStyleCnt="6"/>
      <dgm:spPr/>
    </dgm:pt>
    <dgm:pt modelId="{346821A3-9388-4611-BD3E-09BE568BB149}" type="pres">
      <dgm:prSet presAssocID="{16E664DF-7735-4759-8FAC-7BDF31D7B693}" presName="connectorText" presStyleLbl="sibTrans2D1" presStyleIdx="5" presStyleCnt="6"/>
      <dgm:spPr/>
    </dgm:pt>
    <dgm:pt modelId="{CF342144-9D68-4EB3-98EE-8BF89F4FD9A4}" type="pres">
      <dgm:prSet presAssocID="{D545126E-B428-4ECF-ABC3-CAFB51DF659D}" presName="node" presStyleLbl="node1" presStyleIdx="5" presStyleCnt="6">
        <dgm:presLayoutVars>
          <dgm:bulletEnabled val="1"/>
        </dgm:presLayoutVars>
      </dgm:prSet>
      <dgm:spPr/>
    </dgm:pt>
  </dgm:ptLst>
  <dgm:cxnLst>
    <dgm:cxn modelId="{6FA5BB00-CBEA-499C-AFB5-73D51FF58A87}" type="presOf" srcId="{56CEF8FD-63EC-41D2-9512-67F023F10AF5}" destId="{86DCFCAB-5066-4960-91B4-A9829B16591B}" srcOrd="0" destOrd="0" presId="urn:microsoft.com/office/officeart/2005/8/layout/radial5"/>
    <dgm:cxn modelId="{E804E107-3426-4E75-8D05-5995A826316D}" srcId="{A18D230C-ABA7-42F5-8B13-100FD05A9509}" destId="{3789CCB7-0006-480E-A5D8-125E8FEF4808}" srcOrd="0" destOrd="0" parTransId="{ED0D0AF6-B327-4EEF-AC36-48CF799366BE}" sibTransId="{C76E81E4-5EA2-426E-99AA-6009E1D48609}"/>
    <dgm:cxn modelId="{C0FE2009-7B52-4C57-BBC7-902267D5A9F8}" type="presOf" srcId="{6A71EAC9-D7C3-465A-9D9D-A529A1B9CCEB}" destId="{91E73CBA-67BF-4189-A3A4-8C5AD2F99C0A}" srcOrd="1" destOrd="0" presId="urn:microsoft.com/office/officeart/2005/8/layout/radial5"/>
    <dgm:cxn modelId="{BEFEEA09-8F2E-41D6-AC56-3969E3B1A42E}" srcId="{3789CCB7-0006-480E-A5D8-125E8FEF4808}" destId="{C2A0A35B-B79C-4814-9894-D48D25EA91F4}" srcOrd="1" destOrd="0" parTransId="{75A557DD-E917-45D7-80C9-BB6FFBBDDAB4}" sibTransId="{D21B2971-560F-40E8-8ABB-8AB1CD43E3C2}"/>
    <dgm:cxn modelId="{398E1917-FCCD-4EF2-A8A6-4F8387BC8AA0}" type="presOf" srcId="{3789CCB7-0006-480E-A5D8-125E8FEF4808}" destId="{51F60CFF-603B-404B-B7DA-F91968569E90}" srcOrd="0" destOrd="0" presId="urn:microsoft.com/office/officeart/2005/8/layout/radial5"/>
    <dgm:cxn modelId="{920C641C-5150-4F3A-885A-6A7BFF101B01}" type="presOf" srcId="{EC27A84B-49C8-48D3-8FA1-4C39045D5C4D}" destId="{428CC874-4BB8-4B4C-A227-4031411CFA60}" srcOrd="1" destOrd="0" presId="urn:microsoft.com/office/officeart/2005/8/layout/radial5"/>
    <dgm:cxn modelId="{6360971D-372E-4CDD-A934-2C1D1917BBF5}" type="presOf" srcId="{A5BA6F80-6DE9-473A-B93B-FA04810ABB00}" destId="{1382E84B-54DC-4A38-81CB-F322425DFD20}" srcOrd="1" destOrd="0" presId="urn:microsoft.com/office/officeart/2005/8/layout/radial5"/>
    <dgm:cxn modelId="{1F8C2431-A160-4C91-943C-324F32C2085D}" type="presOf" srcId="{16E664DF-7735-4759-8FAC-7BDF31D7B693}" destId="{346821A3-9388-4611-BD3E-09BE568BB149}" srcOrd="1" destOrd="0" presId="urn:microsoft.com/office/officeart/2005/8/layout/radial5"/>
    <dgm:cxn modelId="{DBA3DE41-076B-47FA-883F-234A0EE918A3}" type="presOf" srcId="{C2A0A35B-B79C-4814-9894-D48D25EA91F4}" destId="{557AD706-067B-44AC-B95A-D2792ED5B68E}" srcOrd="0" destOrd="0" presId="urn:microsoft.com/office/officeart/2005/8/layout/radial5"/>
    <dgm:cxn modelId="{EB52BC4C-7A56-4722-8D23-5B893679279F}" srcId="{3789CCB7-0006-480E-A5D8-125E8FEF4808}" destId="{3902D225-C90A-42BE-B091-EFF75DDC924F}" srcOrd="0" destOrd="0" parTransId="{ABE381D9-2970-48D1-AE94-9A100E2E4537}" sibTransId="{F9BB1E22-D338-4F63-8DDF-E8AFF188EF2E}"/>
    <dgm:cxn modelId="{C4E37B58-3D10-4B55-BD7C-EF8E0298FE59}" type="presOf" srcId="{A5BA6F80-6DE9-473A-B93B-FA04810ABB00}" destId="{352271A2-0EAC-48D8-9783-D81AC4E56B8F}" srcOrd="0" destOrd="0" presId="urn:microsoft.com/office/officeart/2005/8/layout/radial5"/>
    <dgm:cxn modelId="{5956416F-6BD2-4815-9093-6F8F58C05FE1}" type="presOf" srcId="{75A557DD-E917-45D7-80C9-BB6FFBBDDAB4}" destId="{31E45429-498B-4A5A-A670-1FAADE4A1A52}" srcOrd="1" destOrd="0" presId="urn:microsoft.com/office/officeart/2005/8/layout/radial5"/>
    <dgm:cxn modelId="{EA0ABB6F-39D3-4720-A614-F2327C5F3144}" srcId="{3789CCB7-0006-480E-A5D8-125E8FEF4808}" destId="{56CEF8FD-63EC-41D2-9512-67F023F10AF5}" srcOrd="2" destOrd="0" parTransId="{EC27A84B-49C8-48D3-8FA1-4C39045D5C4D}" sibTransId="{7216A8FF-D1AE-47CC-85E5-F825269EC86D}"/>
    <dgm:cxn modelId="{0C95BB79-10E6-4F38-A9C2-EE575DE6525E}" type="presOf" srcId="{16E664DF-7735-4759-8FAC-7BDF31D7B693}" destId="{652EB58D-5288-4308-A78B-3F39AA19825F}" srcOrd="0" destOrd="0" presId="urn:microsoft.com/office/officeart/2005/8/layout/radial5"/>
    <dgm:cxn modelId="{0402CD97-BEE1-4BB0-87C7-4C1FA2E740DF}" srcId="{3789CCB7-0006-480E-A5D8-125E8FEF4808}" destId="{D545126E-B428-4ECF-ABC3-CAFB51DF659D}" srcOrd="5" destOrd="0" parTransId="{16E664DF-7735-4759-8FAC-7BDF31D7B693}" sibTransId="{AA526434-9EFF-4E5D-B4B7-D7AF5721FAB4}"/>
    <dgm:cxn modelId="{3F438A9C-8673-49BE-B53A-3EFE94C7A8D8}" type="presOf" srcId="{94DECB00-A181-4FE7-A096-9EC9BAC8851E}" destId="{6379CFBA-0C07-4E9E-A9C0-DD321E63E226}" srcOrd="0" destOrd="0" presId="urn:microsoft.com/office/officeart/2005/8/layout/radial5"/>
    <dgm:cxn modelId="{1BBF87B4-339D-4C5B-B018-F2F3AD420B87}" type="presOf" srcId="{D545126E-B428-4ECF-ABC3-CAFB51DF659D}" destId="{CF342144-9D68-4EB3-98EE-8BF89F4FD9A4}" srcOrd="0" destOrd="0" presId="urn:microsoft.com/office/officeart/2005/8/layout/radial5"/>
    <dgm:cxn modelId="{AE0532B7-52D0-438C-AE9C-B651B354B082}" type="presOf" srcId="{A18D230C-ABA7-42F5-8B13-100FD05A9509}" destId="{66ADDD2E-B816-4D3D-8C16-8FB23E2F03E8}" srcOrd="0" destOrd="0" presId="urn:microsoft.com/office/officeart/2005/8/layout/radial5"/>
    <dgm:cxn modelId="{F2804AB9-140A-40CB-AE1C-8DFE2008ABF4}" type="presOf" srcId="{ABE381D9-2970-48D1-AE94-9A100E2E4537}" destId="{568F5758-774B-4610-AB00-AB580618A81D}" srcOrd="1" destOrd="0" presId="urn:microsoft.com/office/officeart/2005/8/layout/radial5"/>
    <dgm:cxn modelId="{EEF0CED0-AB59-4656-9E36-009EFEC5B6A6}" type="presOf" srcId="{3902D225-C90A-42BE-B091-EFF75DDC924F}" destId="{2F3CF209-068F-42AE-A484-A314E04017DF}" srcOrd="0" destOrd="0" presId="urn:microsoft.com/office/officeart/2005/8/layout/radial5"/>
    <dgm:cxn modelId="{7F1115EA-6B2C-4BCA-994B-C6E8FE703DCE}" type="presOf" srcId="{6A71EAC9-D7C3-465A-9D9D-A529A1B9CCEB}" destId="{D0188858-DBB6-42E9-8409-2AADC715B65E}" srcOrd="0" destOrd="0" presId="urn:microsoft.com/office/officeart/2005/8/layout/radial5"/>
    <dgm:cxn modelId="{184290EC-DD5D-462D-BF40-5C6133EE2D96}" type="presOf" srcId="{B7155029-659B-4CDD-8992-F77B4D6683CF}" destId="{9DEB7DAF-0B5A-4525-8CE6-4773FEB375F3}" srcOrd="0" destOrd="0" presId="urn:microsoft.com/office/officeart/2005/8/layout/radial5"/>
    <dgm:cxn modelId="{5A89A8EC-A0A3-4AE3-9ACF-18F088372EC1}" type="presOf" srcId="{75A557DD-E917-45D7-80C9-BB6FFBBDDAB4}" destId="{0C41027B-3899-49F2-97EA-8968D191E8C1}" srcOrd="0" destOrd="0" presId="urn:microsoft.com/office/officeart/2005/8/layout/radial5"/>
    <dgm:cxn modelId="{B04713EF-3E0A-4B49-B731-E81346F3B420}" type="presOf" srcId="{EC27A84B-49C8-48D3-8FA1-4C39045D5C4D}" destId="{00163324-EAC1-4C04-A7E3-E07C487C1979}" srcOrd="0" destOrd="0" presId="urn:microsoft.com/office/officeart/2005/8/layout/radial5"/>
    <dgm:cxn modelId="{4D0B7AEF-76F4-407B-A551-DA81D8DF6ADB}" type="presOf" srcId="{ABE381D9-2970-48D1-AE94-9A100E2E4537}" destId="{C4BC9E3D-E779-48B1-B32A-57F0DFB16BA8}" srcOrd="0" destOrd="0" presId="urn:microsoft.com/office/officeart/2005/8/layout/radial5"/>
    <dgm:cxn modelId="{A26448F6-26D1-4981-91C9-C343D6553195}" srcId="{3789CCB7-0006-480E-A5D8-125E8FEF4808}" destId="{B7155029-659B-4CDD-8992-F77B4D6683CF}" srcOrd="3" destOrd="0" parTransId="{A5BA6F80-6DE9-473A-B93B-FA04810ABB00}" sibTransId="{49DB1411-0135-41A4-870A-2CA57CD90A4A}"/>
    <dgm:cxn modelId="{3FE439F9-6CE5-49DE-819C-2607416AE873}" srcId="{3789CCB7-0006-480E-A5D8-125E8FEF4808}" destId="{94DECB00-A181-4FE7-A096-9EC9BAC8851E}" srcOrd="4" destOrd="0" parTransId="{6A71EAC9-D7C3-465A-9D9D-A529A1B9CCEB}" sibTransId="{E90A7B01-C8B6-4171-AE93-5A861A21C5E6}"/>
    <dgm:cxn modelId="{920F8BCF-AF28-42AA-A36C-CEA801DF4BE2}" type="presParOf" srcId="{66ADDD2E-B816-4D3D-8C16-8FB23E2F03E8}" destId="{51F60CFF-603B-404B-B7DA-F91968569E90}" srcOrd="0" destOrd="0" presId="urn:microsoft.com/office/officeart/2005/8/layout/radial5"/>
    <dgm:cxn modelId="{6BEE4C0E-2245-4876-89B1-F07E6AB489CE}" type="presParOf" srcId="{66ADDD2E-B816-4D3D-8C16-8FB23E2F03E8}" destId="{C4BC9E3D-E779-48B1-B32A-57F0DFB16BA8}" srcOrd="1" destOrd="0" presId="urn:microsoft.com/office/officeart/2005/8/layout/radial5"/>
    <dgm:cxn modelId="{DE52128A-F08F-481E-83E2-EE6FDF96C0E7}" type="presParOf" srcId="{C4BC9E3D-E779-48B1-B32A-57F0DFB16BA8}" destId="{568F5758-774B-4610-AB00-AB580618A81D}" srcOrd="0" destOrd="0" presId="urn:microsoft.com/office/officeart/2005/8/layout/radial5"/>
    <dgm:cxn modelId="{6D3AF265-6238-4ADA-99DA-8CE2141DD7D5}" type="presParOf" srcId="{66ADDD2E-B816-4D3D-8C16-8FB23E2F03E8}" destId="{2F3CF209-068F-42AE-A484-A314E04017DF}" srcOrd="2" destOrd="0" presId="urn:microsoft.com/office/officeart/2005/8/layout/radial5"/>
    <dgm:cxn modelId="{8E9D10BC-CEE7-403A-9972-5C181DD40CAF}" type="presParOf" srcId="{66ADDD2E-B816-4D3D-8C16-8FB23E2F03E8}" destId="{0C41027B-3899-49F2-97EA-8968D191E8C1}" srcOrd="3" destOrd="0" presId="urn:microsoft.com/office/officeart/2005/8/layout/radial5"/>
    <dgm:cxn modelId="{DE5656CC-C85F-49C7-BA28-7BD2A0BDA3A3}" type="presParOf" srcId="{0C41027B-3899-49F2-97EA-8968D191E8C1}" destId="{31E45429-498B-4A5A-A670-1FAADE4A1A52}" srcOrd="0" destOrd="0" presId="urn:microsoft.com/office/officeart/2005/8/layout/radial5"/>
    <dgm:cxn modelId="{3C030E24-7FE4-4C9D-8561-037CB3D70345}" type="presParOf" srcId="{66ADDD2E-B816-4D3D-8C16-8FB23E2F03E8}" destId="{557AD706-067B-44AC-B95A-D2792ED5B68E}" srcOrd="4" destOrd="0" presId="urn:microsoft.com/office/officeart/2005/8/layout/radial5"/>
    <dgm:cxn modelId="{833AD96B-F6E9-411A-B033-E777712BF1BA}" type="presParOf" srcId="{66ADDD2E-B816-4D3D-8C16-8FB23E2F03E8}" destId="{00163324-EAC1-4C04-A7E3-E07C487C1979}" srcOrd="5" destOrd="0" presId="urn:microsoft.com/office/officeart/2005/8/layout/radial5"/>
    <dgm:cxn modelId="{726F6033-B597-48EF-AF10-F5B5BD6EE46D}" type="presParOf" srcId="{00163324-EAC1-4C04-A7E3-E07C487C1979}" destId="{428CC874-4BB8-4B4C-A227-4031411CFA60}" srcOrd="0" destOrd="0" presId="urn:microsoft.com/office/officeart/2005/8/layout/radial5"/>
    <dgm:cxn modelId="{FF4F07F9-E032-46B9-AD8F-D51A05ABA04A}" type="presParOf" srcId="{66ADDD2E-B816-4D3D-8C16-8FB23E2F03E8}" destId="{86DCFCAB-5066-4960-91B4-A9829B16591B}" srcOrd="6" destOrd="0" presId="urn:microsoft.com/office/officeart/2005/8/layout/radial5"/>
    <dgm:cxn modelId="{D6A17F38-D160-4532-B673-EF933F38C28B}" type="presParOf" srcId="{66ADDD2E-B816-4D3D-8C16-8FB23E2F03E8}" destId="{352271A2-0EAC-48D8-9783-D81AC4E56B8F}" srcOrd="7" destOrd="0" presId="urn:microsoft.com/office/officeart/2005/8/layout/radial5"/>
    <dgm:cxn modelId="{A0B03983-E991-431E-883E-308E5068FE86}" type="presParOf" srcId="{352271A2-0EAC-48D8-9783-D81AC4E56B8F}" destId="{1382E84B-54DC-4A38-81CB-F322425DFD20}" srcOrd="0" destOrd="0" presId="urn:microsoft.com/office/officeart/2005/8/layout/radial5"/>
    <dgm:cxn modelId="{823DFDBF-731F-40F1-9A0F-7847C825E35E}" type="presParOf" srcId="{66ADDD2E-B816-4D3D-8C16-8FB23E2F03E8}" destId="{9DEB7DAF-0B5A-4525-8CE6-4773FEB375F3}" srcOrd="8" destOrd="0" presId="urn:microsoft.com/office/officeart/2005/8/layout/radial5"/>
    <dgm:cxn modelId="{A5EBE22C-584C-495A-AEE6-C368DB7EBBF6}" type="presParOf" srcId="{66ADDD2E-B816-4D3D-8C16-8FB23E2F03E8}" destId="{D0188858-DBB6-42E9-8409-2AADC715B65E}" srcOrd="9" destOrd="0" presId="urn:microsoft.com/office/officeart/2005/8/layout/radial5"/>
    <dgm:cxn modelId="{2992A245-04B9-466F-B7B4-D077829DD9EF}" type="presParOf" srcId="{D0188858-DBB6-42E9-8409-2AADC715B65E}" destId="{91E73CBA-67BF-4189-A3A4-8C5AD2F99C0A}" srcOrd="0" destOrd="0" presId="urn:microsoft.com/office/officeart/2005/8/layout/radial5"/>
    <dgm:cxn modelId="{EA611AC1-ECD0-4BED-9656-BBC4E2C7CC13}" type="presParOf" srcId="{66ADDD2E-B816-4D3D-8C16-8FB23E2F03E8}" destId="{6379CFBA-0C07-4E9E-A9C0-DD321E63E226}" srcOrd="10" destOrd="0" presId="urn:microsoft.com/office/officeart/2005/8/layout/radial5"/>
    <dgm:cxn modelId="{90C6AA1C-89D1-42F1-9020-81CCD6A9371E}" type="presParOf" srcId="{66ADDD2E-B816-4D3D-8C16-8FB23E2F03E8}" destId="{652EB58D-5288-4308-A78B-3F39AA19825F}" srcOrd="11" destOrd="0" presId="urn:microsoft.com/office/officeart/2005/8/layout/radial5"/>
    <dgm:cxn modelId="{FD0CFF5B-C5AB-452C-B710-28FBC00952FC}" type="presParOf" srcId="{652EB58D-5288-4308-A78B-3F39AA19825F}" destId="{346821A3-9388-4611-BD3E-09BE568BB149}" srcOrd="0" destOrd="0" presId="urn:microsoft.com/office/officeart/2005/8/layout/radial5"/>
    <dgm:cxn modelId="{784A6F92-C4E1-42FC-BEC5-84D1F0945D71}" type="presParOf" srcId="{66ADDD2E-B816-4D3D-8C16-8FB23E2F03E8}" destId="{CF342144-9D68-4EB3-98EE-8BF89F4FD9A4}" srcOrd="12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F60CFF-603B-404B-B7DA-F91968569E90}">
      <dsp:nvSpPr>
        <dsp:cNvPr id="0" name=""/>
        <dsp:cNvSpPr/>
      </dsp:nvSpPr>
      <dsp:spPr>
        <a:xfrm>
          <a:off x="2019002" y="1603871"/>
          <a:ext cx="1143595" cy="114359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200" b="1" kern="1200" dirty="0"/>
            <a:t>AKILLI SAYAÇ BİLEŞENLERİ</a:t>
          </a:r>
        </a:p>
      </dsp:txBody>
      <dsp:txXfrm>
        <a:off x="2186478" y="1771347"/>
        <a:ext cx="808643" cy="808643"/>
      </dsp:txXfrm>
    </dsp:sp>
    <dsp:sp modelId="{C4BC9E3D-E779-48B1-B32A-57F0DFB16BA8}">
      <dsp:nvSpPr>
        <dsp:cNvPr id="0" name=""/>
        <dsp:cNvSpPr/>
      </dsp:nvSpPr>
      <dsp:spPr>
        <a:xfrm rot="16200000">
          <a:off x="2469576" y="1187597"/>
          <a:ext cx="242447" cy="38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/>
        </a:p>
      </dsp:txBody>
      <dsp:txXfrm>
        <a:off x="2505943" y="1301728"/>
        <a:ext cx="169713" cy="233294"/>
      </dsp:txXfrm>
    </dsp:sp>
    <dsp:sp modelId="{2F3CF209-068F-42AE-A484-A314E04017DF}">
      <dsp:nvSpPr>
        <dsp:cNvPr id="0" name=""/>
        <dsp:cNvSpPr/>
      </dsp:nvSpPr>
      <dsp:spPr>
        <a:xfrm>
          <a:off x="2019002" y="2827"/>
          <a:ext cx="1143595" cy="1143595"/>
        </a:xfrm>
        <a:prstGeom prst="ellips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200" kern="1200" dirty="0"/>
            <a:t>GÜVENLİK</a:t>
          </a:r>
          <a:endParaRPr lang="tr-TR" sz="800" kern="1200" dirty="0"/>
        </a:p>
      </dsp:txBody>
      <dsp:txXfrm>
        <a:off x="2186478" y="170303"/>
        <a:ext cx="808643" cy="808643"/>
      </dsp:txXfrm>
    </dsp:sp>
    <dsp:sp modelId="{0C41027B-3899-49F2-97EA-8968D191E8C1}">
      <dsp:nvSpPr>
        <dsp:cNvPr id="0" name=""/>
        <dsp:cNvSpPr/>
      </dsp:nvSpPr>
      <dsp:spPr>
        <a:xfrm rot="19800000">
          <a:off x="3156906" y="1584427"/>
          <a:ext cx="242447" cy="38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/>
        </a:p>
      </dsp:txBody>
      <dsp:txXfrm>
        <a:off x="3161778" y="1680375"/>
        <a:ext cx="169713" cy="233294"/>
      </dsp:txXfrm>
    </dsp:sp>
    <dsp:sp modelId="{557AD706-067B-44AC-B95A-D2792ED5B68E}">
      <dsp:nvSpPr>
        <dsp:cNvPr id="0" name=""/>
        <dsp:cNvSpPr/>
      </dsp:nvSpPr>
      <dsp:spPr>
        <a:xfrm>
          <a:off x="3405546" y="803349"/>
          <a:ext cx="1143595" cy="1143595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100" kern="1200" dirty="0"/>
            <a:t>TEKNOLOJİ</a:t>
          </a:r>
          <a:endParaRPr lang="tr-TR" sz="1000" kern="1200" dirty="0"/>
        </a:p>
      </dsp:txBody>
      <dsp:txXfrm>
        <a:off x="3573022" y="970825"/>
        <a:ext cx="808643" cy="808643"/>
      </dsp:txXfrm>
    </dsp:sp>
    <dsp:sp modelId="{00163324-EAC1-4C04-A7E3-E07C487C1979}">
      <dsp:nvSpPr>
        <dsp:cNvPr id="0" name=""/>
        <dsp:cNvSpPr/>
      </dsp:nvSpPr>
      <dsp:spPr>
        <a:xfrm rot="1800000">
          <a:off x="3156906" y="2378087"/>
          <a:ext cx="242447" cy="38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/>
        </a:p>
      </dsp:txBody>
      <dsp:txXfrm>
        <a:off x="3161778" y="2437668"/>
        <a:ext cx="169713" cy="233294"/>
      </dsp:txXfrm>
    </dsp:sp>
    <dsp:sp modelId="{86DCFCAB-5066-4960-91B4-A9829B16591B}">
      <dsp:nvSpPr>
        <dsp:cNvPr id="0" name=""/>
        <dsp:cNvSpPr/>
      </dsp:nvSpPr>
      <dsp:spPr>
        <a:xfrm>
          <a:off x="3405546" y="2404393"/>
          <a:ext cx="1143595" cy="1143595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200" kern="1200" dirty="0"/>
            <a:t>MEVZUAT</a:t>
          </a:r>
          <a:endParaRPr lang="tr-TR" sz="1300" kern="1200" dirty="0"/>
        </a:p>
      </dsp:txBody>
      <dsp:txXfrm>
        <a:off x="3573022" y="2571869"/>
        <a:ext cx="808643" cy="808643"/>
      </dsp:txXfrm>
    </dsp:sp>
    <dsp:sp modelId="{352271A2-0EAC-48D8-9783-D81AC4E56B8F}">
      <dsp:nvSpPr>
        <dsp:cNvPr id="0" name=""/>
        <dsp:cNvSpPr/>
      </dsp:nvSpPr>
      <dsp:spPr>
        <a:xfrm rot="5400000">
          <a:off x="2469576" y="2774917"/>
          <a:ext cx="242447" cy="38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/>
        </a:p>
      </dsp:txBody>
      <dsp:txXfrm>
        <a:off x="2505943" y="2816314"/>
        <a:ext cx="169713" cy="233294"/>
      </dsp:txXfrm>
    </dsp:sp>
    <dsp:sp modelId="{9DEB7DAF-0B5A-4525-8CE6-4773FEB375F3}">
      <dsp:nvSpPr>
        <dsp:cNvPr id="0" name=""/>
        <dsp:cNvSpPr/>
      </dsp:nvSpPr>
      <dsp:spPr>
        <a:xfrm>
          <a:off x="2019002" y="3204915"/>
          <a:ext cx="1143595" cy="1143595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200" kern="1200" dirty="0"/>
            <a:t>MODEM</a:t>
          </a:r>
          <a:endParaRPr lang="tr-TR" sz="1500" kern="1200" dirty="0"/>
        </a:p>
      </dsp:txBody>
      <dsp:txXfrm>
        <a:off x="2186478" y="3372391"/>
        <a:ext cx="808643" cy="808643"/>
      </dsp:txXfrm>
    </dsp:sp>
    <dsp:sp modelId="{D0188858-DBB6-42E9-8409-2AADC715B65E}">
      <dsp:nvSpPr>
        <dsp:cNvPr id="0" name=""/>
        <dsp:cNvSpPr/>
      </dsp:nvSpPr>
      <dsp:spPr>
        <a:xfrm rot="9000000">
          <a:off x="1782246" y="2378087"/>
          <a:ext cx="242447" cy="38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/>
        </a:p>
      </dsp:txBody>
      <dsp:txXfrm rot="10800000">
        <a:off x="1850108" y="2437668"/>
        <a:ext cx="169713" cy="233294"/>
      </dsp:txXfrm>
    </dsp:sp>
    <dsp:sp modelId="{6379CFBA-0C07-4E9E-A9C0-DD321E63E226}">
      <dsp:nvSpPr>
        <dsp:cNvPr id="0" name=""/>
        <dsp:cNvSpPr/>
      </dsp:nvSpPr>
      <dsp:spPr>
        <a:xfrm>
          <a:off x="632457" y="2404393"/>
          <a:ext cx="1143595" cy="1143595"/>
        </a:xfrm>
        <a:prstGeom prst="ellips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100" kern="1200" dirty="0"/>
            <a:t>HABERLEŞME</a:t>
          </a:r>
          <a:endParaRPr lang="tr-TR" sz="1000" kern="1200" dirty="0"/>
        </a:p>
      </dsp:txBody>
      <dsp:txXfrm>
        <a:off x="799933" y="2571869"/>
        <a:ext cx="808643" cy="808643"/>
      </dsp:txXfrm>
    </dsp:sp>
    <dsp:sp modelId="{652EB58D-5288-4308-A78B-3F39AA19825F}">
      <dsp:nvSpPr>
        <dsp:cNvPr id="0" name=""/>
        <dsp:cNvSpPr/>
      </dsp:nvSpPr>
      <dsp:spPr>
        <a:xfrm rot="12600000">
          <a:off x="1782246" y="1584427"/>
          <a:ext cx="242447" cy="388822"/>
        </a:xfrm>
        <a:prstGeom prst="rightArrow">
          <a:avLst>
            <a:gd name="adj1" fmla="val 6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tr-TR" sz="1600" kern="1200"/>
        </a:p>
      </dsp:txBody>
      <dsp:txXfrm rot="10800000">
        <a:off x="1850108" y="1680375"/>
        <a:ext cx="169713" cy="233294"/>
      </dsp:txXfrm>
    </dsp:sp>
    <dsp:sp modelId="{CF342144-9D68-4EB3-98EE-8BF89F4FD9A4}">
      <dsp:nvSpPr>
        <dsp:cNvPr id="0" name=""/>
        <dsp:cNvSpPr/>
      </dsp:nvSpPr>
      <dsp:spPr>
        <a:xfrm>
          <a:off x="632457" y="803349"/>
          <a:ext cx="1143595" cy="1143595"/>
        </a:xfrm>
        <a:prstGeom prst="ellipse">
          <a:avLst/>
        </a:prstGeom>
        <a:solidFill>
          <a:srgbClr val="7030A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tr-TR" sz="1200" b="1" kern="1200" dirty="0"/>
            <a:t>DONANIM</a:t>
          </a:r>
          <a:endParaRPr lang="tr-TR" sz="800" b="1" kern="1200" dirty="0"/>
        </a:p>
      </dsp:txBody>
      <dsp:txXfrm>
        <a:off x="799933" y="970825"/>
        <a:ext cx="808643" cy="8086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 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754E29-CD84-486D-9BAD-50DA8B54EFC8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4" name="Slayt Resmi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D84C27-E23E-430F-9BBA-F74B347A6F82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640664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1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6637485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10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877249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B1C2376-3BDF-4AA5-8804-6B40B7CF3245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2803615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3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74482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02493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5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629445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6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409368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7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8150007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8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182921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D84C27-E23E-430F-9BBA-F74B347A6F82}" type="slidenum">
              <a:rPr lang="tr-TR" smtClean="0"/>
              <a:t>9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5279679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A6E03844-9266-4372-85F4-5E588A5247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B8672197-F52C-41CD-9AF0-E92FDC276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EAFBD5BB-866A-420E-BE54-96BE37F3B6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6C781201-3F99-40B8-B150-B7A3064921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D5C3130A-FC47-492F-A901-386E9457D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044523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97105914-052B-4456-A984-8492AB9380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0AE7C050-179E-47C7-A873-24C6FB314A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730D651D-CC87-454D-8991-A421839E67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6543119D-7982-47A7-A9BC-8D592688C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0A0883A7-76DD-4F33-BA0F-2F81CD823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4584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397E4FF2-9C2E-4D32-ACD7-B3533EF9D8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16AD5CBA-082F-4879-8F9C-F9280389386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B9DA2638-431F-4901-9631-003E31ECB0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28E2EACA-6985-4319-BCFC-DA95D3BB5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A350CF1A-2DB1-4EDE-B856-630CE45A7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509626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EAF27AB4-8854-4D89-AED6-EAF551014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FF98DD8-22F4-4F04-ADC1-A81A696BD6D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96C7145F-E64E-4093-BF34-32036C63A1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F35F6305-5DA5-4BBD-85BD-745660449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61767D19-6C96-4B4E-8CDB-9AF3F2559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112160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1AC673FB-E2BE-42D7-A1FA-C8A23DBFA4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543ED1BA-CD5F-42ED-8254-ECCDAF18FC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3630A09F-A778-4948-9958-F932650DB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9B069B30-C443-4B3B-8C98-F737DBA91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15DD817D-F681-4B80-93AE-C546D0B860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769712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8D72E22B-A6F2-4D63-BF23-2CA208E66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93651651-7826-42AA-A0E3-9FA72CAF1DF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D3B858A5-6594-47ED-B9BE-ABABE48A07D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5CB0171A-5B7A-4993-90C5-399359425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97FAC5E0-0B89-4736-9BB5-E093531D57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643D1E1F-36B1-4622-88F3-8F59F51F77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15242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C118D3A7-4536-48E4-958F-C15EC2A74E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3B43D498-BC09-41F6-AC78-82397651B3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B7E905B2-3847-4954-9D1A-20CD4A16A2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3137DD0D-8BF1-4301-B876-6CC54D6A47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E5C21820-DFF8-489A-88E5-C0A4A51B165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48B01034-E67C-4219-BD83-9A429BE2F5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81C20259-AE8C-43CF-BE73-F059657B1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4958BE02-C1FE-4B8C-A5B5-6A85C82656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326412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62DE8CCD-6A6D-47AB-8605-BC5A14F78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459C7670-74C7-4681-9DBF-58D4705F1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B1381426-1262-4B32-8990-CDA759472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C7D32057-C989-414C-A36B-3792835B4A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205639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900C5E7F-C4E8-4EDE-9F06-405ABEF7F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77D91C42-0E2B-4D84-8489-1B9DE080E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FB9A8B9E-53CC-43E9-B9F7-4660C8648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120162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F98F67B6-090C-44C2-8E07-45C672310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0ADD145F-24A5-4BB2-B6E0-49781415397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89687FA8-D34A-4D8E-A2E2-954579A79F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DF8C68BB-38E2-43EA-BC9D-85388DC07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011EACD0-D47C-47B4-81E7-42B0380EC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DA3C5E4A-869C-472D-A173-9DBB54DF84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901584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>
            <a:extLst>
              <a:ext uri="{FF2B5EF4-FFF2-40B4-BE49-F238E27FC236}">
                <a16:creationId xmlns:a16="http://schemas.microsoft.com/office/drawing/2014/main" id="{B0495CCC-8E4A-4D4B-BA25-B97EB58075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D628E8FA-8510-4136-94B9-CBE5B827C8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DBAB4E3C-1C2E-4567-BE4B-4C5D526441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mek için tıklayın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6CF6AD56-5099-4222-896B-498AEC04F6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DB72C448-E86D-4CF2-BBF2-B04D5D834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0EC5ABD6-7FF3-4B79-8FED-2DEB1F362C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294185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22E8E10D-5EE4-41E5-B0C0-6207F83939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7E29B9ED-B516-4C93-8E79-4ECEEE3B52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y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DCFE318C-AC6A-4107-8A2F-6D39B327B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C5FA14-EAB0-4E3B-B033-5FFCAF48AD5D}" type="datetimeFigureOut">
              <a:rPr lang="tr-TR" smtClean="0"/>
              <a:t>22.10.2020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D48A6870-4D1F-4195-B861-7B1DCD0EC2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DE69B61C-0383-4076-B07B-6061078176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38A184-9A13-42ED-96B4-ACB0B8E37D14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440911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notesSlide" Target="../notesSlides/notesSlide5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1.png"/><Relationship Id="rId7" Type="http://schemas.openxmlformats.org/officeDocument/2006/relationships/image" Target="../media/image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g"/><Relationship Id="rId5" Type="http://schemas.openxmlformats.org/officeDocument/2006/relationships/image" Target="../media/image7.jpeg"/><Relationship Id="rId4" Type="http://schemas.openxmlformats.org/officeDocument/2006/relationships/image" Target="../media/image6.jpg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5F070C9-73D1-4DD4-A2F7-4F4168FE02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6483" y="3680825"/>
            <a:ext cx="4079033" cy="26662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D8601C0-D226-4ACF-9685-60E658E28B0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245C9CD-F35C-4CE6-983E-6EBC9BCB48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B885-1BFE-45F1-956C-2D72696E8172}" type="slidenum">
              <a:rPr lang="en-GB" smtClean="0"/>
              <a:t>1</a:t>
            </a:fld>
            <a:endParaRPr lang="en-GB" dirty="0"/>
          </a:p>
        </p:txBody>
      </p:sp>
      <p:pic>
        <p:nvPicPr>
          <p:cNvPr id="12" name="Picture 11" descr="A view of a city at night&#10;&#10;Description automatically generated">
            <a:extLst>
              <a:ext uri="{FF2B5EF4-FFF2-40B4-BE49-F238E27FC236}">
                <a16:creationId xmlns:a16="http://schemas.microsoft.com/office/drawing/2014/main" id="{1A18BF79-20E9-4601-97E5-A0E39F37BE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659"/>
          <a:stretch/>
        </p:blipFill>
        <p:spPr>
          <a:xfrm>
            <a:off x="0" y="-18689"/>
            <a:ext cx="12192000" cy="3304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229771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9F6D6F-F337-46F2-877C-AAABB9AC79C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633520-C8B2-4248-B5FE-1FDC207C0FD6}"/>
              </a:ext>
            </a:extLst>
          </p:cNvPr>
          <p:cNvCxnSpPr/>
          <p:nvPr/>
        </p:nvCxnSpPr>
        <p:spPr>
          <a:xfrm>
            <a:off x="0" y="6226635"/>
            <a:ext cx="121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0ABBD5-2C80-4FAD-8FDB-B760AACDA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87548" y="800413"/>
            <a:ext cx="4416904" cy="2887072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FCDB7D2-2F54-4709-BC89-CD63AA401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B885-1BFE-45F1-956C-2D72696E8172}" type="slidenum">
              <a:rPr lang="tr-TR" smtClean="0"/>
              <a:t>10</a:t>
            </a:fld>
            <a:endParaRPr lang="tr-TR"/>
          </a:p>
        </p:txBody>
      </p:sp>
      <p:sp>
        <p:nvSpPr>
          <p:cNvPr id="2" name="Metin kutusu 1">
            <a:extLst>
              <a:ext uri="{FF2B5EF4-FFF2-40B4-BE49-F238E27FC236}">
                <a16:creationId xmlns:a16="http://schemas.microsoft.com/office/drawing/2014/main" id="{17A1679F-6C25-4DA6-B475-70A0DD3265C0}"/>
              </a:ext>
            </a:extLst>
          </p:cNvPr>
          <p:cNvSpPr txBox="1"/>
          <p:nvPr/>
        </p:nvSpPr>
        <p:spPr>
          <a:xfrm>
            <a:off x="2962514" y="4218701"/>
            <a:ext cx="645916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200" b="1" dirty="0"/>
              <a:t>www.mass.org.tr</a:t>
            </a:r>
          </a:p>
          <a:p>
            <a:pPr algn="ctr"/>
            <a:r>
              <a:rPr lang="tr-TR" sz="3200" b="1" dirty="0"/>
              <a:t>TEŞEKKÜRLER</a:t>
            </a:r>
          </a:p>
        </p:txBody>
      </p:sp>
    </p:spTree>
    <p:extLst>
      <p:ext uri="{BB962C8B-B14F-4D97-AF65-F5344CB8AC3E}">
        <p14:creationId xmlns:p14="http://schemas.microsoft.com/office/powerpoint/2010/main" val="683654159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 idx="4294967295"/>
          </p:nvPr>
        </p:nvSpPr>
        <p:spPr>
          <a:xfrm>
            <a:off x="3431704" y="188640"/>
            <a:ext cx="6156176" cy="576064"/>
          </a:xfr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>
            <a:normAutofit/>
          </a:bodyPr>
          <a:lstStyle/>
          <a:p>
            <a:r>
              <a:rPr lang="tr-TR" sz="2400" b="1" dirty="0"/>
              <a:t>SUNUM PLANI</a:t>
            </a:r>
          </a:p>
        </p:txBody>
      </p:sp>
      <p:graphicFrame>
        <p:nvGraphicFramePr>
          <p:cNvPr id="7" name="6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72668870"/>
              </p:ext>
            </p:extLst>
          </p:nvPr>
        </p:nvGraphicFramePr>
        <p:xfrm>
          <a:off x="3431705" y="1340768"/>
          <a:ext cx="6288359" cy="4228823"/>
        </p:xfrm>
        <a:graphic>
          <a:graphicData uri="http://schemas.openxmlformats.org/drawingml/2006/table">
            <a:tbl>
              <a:tblPr firstRow="1" bandRow="1">
                <a:tableStyleId>{22838BEF-8BB2-4498-84A7-C5851F593DF1}</a:tableStyleId>
              </a:tblPr>
              <a:tblGrid>
                <a:gridCol w="4320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8563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700431">
                <a:tc>
                  <a:txBody>
                    <a:bodyPr/>
                    <a:lstStyle/>
                    <a:p>
                      <a:r>
                        <a:rPr lang="tr-TR" sz="1800" b="0" dirty="0"/>
                        <a:t>1)</a:t>
                      </a:r>
                      <a:endParaRPr lang="tr-TR" sz="1800" b="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800" b="0" dirty="0"/>
                        <a:t>TAŞ 2023</a:t>
                      </a:r>
                      <a:r>
                        <a:rPr lang="tr-TR" sz="1800" b="0" baseline="0" dirty="0"/>
                        <a:t> Yol Haritası Kapsamında </a:t>
                      </a:r>
                      <a:r>
                        <a:rPr lang="tr-TR" sz="1800" b="0" dirty="0"/>
                        <a:t>Akıllı Şebeke Kavramı</a:t>
                      </a:r>
                      <a:endParaRPr lang="tr-TR" sz="1800" b="0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0431">
                <a:tc>
                  <a:txBody>
                    <a:bodyPr/>
                    <a:lstStyle/>
                    <a:p>
                      <a:r>
                        <a:rPr lang="tr-TR" sz="1800" dirty="0"/>
                        <a:t>2)</a:t>
                      </a:r>
                      <a:endParaRPr lang="tr-TR" sz="18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800" b="0" dirty="0">
                          <a:solidFill>
                            <a:schemeClr val="dk1"/>
                          </a:solidFill>
                        </a:rPr>
                        <a:t>Sayaç Sistemleri Yapısı</a:t>
                      </a:r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55163">
                <a:tc>
                  <a:txBody>
                    <a:bodyPr/>
                    <a:lstStyle/>
                    <a:p>
                      <a:r>
                        <a:rPr lang="tr-TR" sz="1800" dirty="0"/>
                        <a:t>3)</a:t>
                      </a:r>
                      <a:endParaRPr lang="tr-TR" sz="18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dirty="0"/>
                        <a:t>MASS Proje Süreci</a:t>
                      </a:r>
                    </a:p>
                    <a:p>
                      <a:endParaRPr lang="tr-TR" sz="18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00431">
                <a:tc>
                  <a:txBody>
                    <a:bodyPr/>
                    <a:lstStyle/>
                    <a:p>
                      <a:r>
                        <a:rPr lang="tr-TR" sz="1800" dirty="0">
                          <a:solidFill>
                            <a:schemeClr val="tx1"/>
                          </a:solidFill>
                        </a:rPr>
                        <a:t>4)</a:t>
                      </a:r>
                      <a:endParaRPr lang="tr-TR" sz="1800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800" b="0" dirty="0">
                          <a:latin typeface="+mn-lt"/>
                        </a:rPr>
                        <a:t>MASS Gerekliliği ve Sistem Bileşenleri</a:t>
                      </a:r>
                      <a:endParaRPr lang="tr-TR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0431">
                <a:tc>
                  <a:txBody>
                    <a:bodyPr/>
                    <a:lstStyle/>
                    <a:p>
                      <a:r>
                        <a:rPr lang="tr-TR" sz="1800" b="0" dirty="0">
                          <a:solidFill>
                            <a:schemeClr val="tx1"/>
                          </a:solidFill>
                        </a:rPr>
                        <a:t>5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dirty="0"/>
                        <a:t>Akıllı Sayaç Sistemleri ile</a:t>
                      </a:r>
                      <a:r>
                        <a:rPr lang="tr-TR" baseline="0" dirty="0"/>
                        <a:t> Oluşacak Kazanımlar</a:t>
                      </a:r>
                      <a:endParaRPr lang="tr-TR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71936">
                <a:tc>
                  <a:txBody>
                    <a:bodyPr/>
                    <a:lstStyle/>
                    <a:p>
                      <a:r>
                        <a:rPr lang="tr-TR" sz="1800" b="0" dirty="0">
                          <a:solidFill>
                            <a:schemeClr val="tx1"/>
                          </a:solidFill>
                        </a:rPr>
                        <a:t>6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tr-TR" sz="1800" b="0" dirty="0">
                          <a:solidFill>
                            <a:schemeClr val="tx1"/>
                          </a:solidFill>
                        </a:rPr>
                        <a:t>MASS Diyagramı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62034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9F6D6F-F337-46F2-877C-AAABB9AC79C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633520-C8B2-4248-B5FE-1FDC207C0FD6}"/>
              </a:ext>
            </a:extLst>
          </p:cNvPr>
          <p:cNvCxnSpPr/>
          <p:nvPr/>
        </p:nvCxnSpPr>
        <p:spPr>
          <a:xfrm>
            <a:off x="0" y="6226635"/>
            <a:ext cx="121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0ABBD5-2C80-4FAD-8FDB-B760AACDA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1240" y="216753"/>
            <a:ext cx="1268619" cy="829222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FCDB7D2-2F54-4709-BC89-CD63AA401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B885-1BFE-45F1-956C-2D72696E8172}" type="slidenum">
              <a:rPr lang="tr-TR" smtClean="0"/>
              <a:t>3</a:t>
            </a:fld>
            <a:endParaRPr lang="tr-TR"/>
          </a:p>
        </p:txBody>
      </p:sp>
      <p:sp>
        <p:nvSpPr>
          <p:cNvPr id="116" name="Title 2">
            <a:extLst>
              <a:ext uri="{FF2B5EF4-FFF2-40B4-BE49-F238E27FC236}">
                <a16:creationId xmlns:a16="http://schemas.microsoft.com/office/drawing/2014/main" id="{6FE8314E-FD79-483B-A752-ADD4F1D11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625" y="-82350"/>
            <a:ext cx="4249277" cy="905976"/>
          </a:xfrm>
        </p:spPr>
        <p:txBody>
          <a:bodyPr>
            <a:normAutofit/>
          </a:bodyPr>
          <a:lstStyle/>
          <a:p>
            <a:r>
              <a:rPr lang="tr-TR" sz="2400" b="1" dirty="0">
                <a:latin typeface="+mn-lt"/>
              </a:rPr>
              <a:t> AKILLI ŞEBEKE KAVRAMI</a:t>
            </a:r>
            <a:endParaRPr lang="en-US" sz="2400" b="1" dirty="0">
              <a:latin typeface="+mn-lt"/>
            </a:endParaRPr>
          </a:p>
        </p:txBody>
      </p:sp>
      <p:pic>
        <p:nvPicPr>
          <p:cNvPr id="15" name="Picture 11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1708" y="1045975"/>
            <a:ext cx="8201891" cy="464944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32094706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9F6D6F-F337-46F2-877C-AAABB9AC79C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633520-C8B2-4248-B5FE-1FDC207C0FD6}"/>
              </a:ext>
            </a:extLst>
          </p:cNvPr>
          <p:cNvCxnSpPr/>
          <p:nvPr/>
        </p:nvCxnSpPr>
        <p:spPr>
          <a:xfrm>
            <a:off x="0" y="6226635"/>
            <a:ext cx="121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0ABBD5-2C80-4FAD-8FDB-B760AACDA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1240" y="216753"/>
            <a:ext cx="1268619" cy="829222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FCDB7D2-2F54-4709-BC89-CD63AA401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B885-1BFE-45F1-956C-2D72696E8172}" type="slidenum">
              <a:rPr lang="tr-TR" smtClean="0"/>
              <a:t>4</a:t>
            </a:fld>
            <a:endParaRPr lang="tr-TR"/>
          </a:p>
        </p:txBody>
      </p:sp>
      <p:sp>
        <p:nvSpPr>
          <p:cNvPr id="296" name="Title 2">
            <a:extLst>
              <a:ext uri="{FF2B5EF4-FFF2-40B4-BE49-F238E27FC236}">
                <a16:creationId xmlns:a16="http://schemas.microsoft.com/office/drawing/2014/main" id="{8332FED6-1BFF-40CC-B0C7-D59415273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141" y="108865"/>
            <a:ext cx="8716216" cy="905976"/>
          </a:xfrm>
        </p:spPr>
        <p:txBody>
          <a:bodyPr>
            <a:normAutofit/>
          </a:bodyPr>
          <a:lstStyle/>
          <a:p>
            <a:r>
              <a:rPr lang="tr-TR" sz="2400" b="1" dirty="0">
                <a:latin typeface="+mn-lt"/>
              </a:rPr>
              <a:t> SAYAÇ SİSTEMLERİ YAPISI</a:t>
            </a:r>
            <a:br>
              <a:rPr lang="tr-TR" sz="2400" b="1" dirty="0">
                <a:latin typeface="+mn-lt"/>
              </a:rPr>
            </a:br>
            <a:endParaRPr lang="en-US" sz="2400" b="1" dirty="0">
              <a:latin typeface="+mn-lt"/>
            </a:endParaRPr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6109" y="1287284"/>
            <a:ext cx="4627418" cy="29244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277" y="1413164"/>
            <a:ext cx="4552267" cy="293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7067509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9F6D6F-F337-46F2-877C-AAABB9AC79C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633520-C8B2-4248-B5FE-1FDC207C0FD6}"/>
              </a:ext>
            </a:extLst>
          </p:cNvPr>
          <p:cNvCxnSpPr/>
          <p:nvPr/>
        </p:nvCxnSpPr>
        <p:spPr>
          <a:xfrm>
            <a:off x="0" y="6226635"/>
            <a:ext cx="121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0ABBD5-2C80-4FAD-8FDB-B760AACDA066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651240" y="216753"/>
            <a:ext cx="1268619" cy="829222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FCDB7D2-2F54-4709-BC89-CD63AA401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B885-1BFE-45F1-956C-2D72696E8172}" type="slidenum">
              <a:rPr lang="tr-TR" smtClean="0"/>
              <a:t>5</a:t>
            </a:fld>
            <a:endParaRPr lang="tr-TR"/>
          </a:p>
        </p:txBody>
      </p:sp>
      <p:sp>
        <p:nvSpPr>
          <p:cNvPr id="141" name="Title 1">
            <a:extLst>
              <a:ext uri="{FF2B5EF4-FFF2-40B4-BE49-F238E27FC236}">
                <a16:creationId xmlns:a16="http://schemas.microsoft.com/office/drawing/2014/main" id="{10E7C42C-8DCC-48F5-AB93-F7656B3C8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652" y="111405"/>
            <a:ext cx="3428267" cy="611871"/>
          </a:xfrm>
        </p:spPr>
        <p:txBody>
          <a:bodyPr>
            <a:normAutofit/>
          </a:bodyPr>
          <a:lstStyle/>
          <a:p>
            <a:r>
              <a:rPr lang="tr-TR" sz="2400" b="1" dirty="0">
                <a:latin typeface="+mn-lt"/>
              </a:rPr>
              <a:t> MASS PROJE SÜRECİ</a:t>
            </a:r>
            <a:endParaRPr lang="en-US" sz="2400" b="1" dirty="0">
              <a:latin typeface="+mn-lt"/>
            </a:endParaRPr>
          </a:p>
        </p:txBody>
      </p:sp>
      <p:grpSp>
        <p:nvGrpSpPr>
          <p:cNvPr id="142" name="Group 74">
            <a:extLst>
              <a:ext uri="{FF2B5EF4-FFF2-40B4-BE49-F238E27FC236}">
                <a16:creationId xmlns:a16="http://schemas.microsoft.com/office/drawing/2014/main" id="{8867AB79-74AC-472E-BB07-6A90A48DE92D}"/>
              </a:ext>
            </a:extLst>
          </p:cNvPr>
          <p:cNvGrpSpPr/>
          <p:nvPr/>
        </p:nvGrpSpPr>
        <p:grpSpPr>
          <a:xfrm rot="10800000">
            <a:off x="1462996" y="2465371"/>
            <a:ext cx="1005840" cy="1014737"/>
            <a:chOff x="9268877" y="1596791"/>
            <a:chExt cx="1005840" cy="1014737"/>
          </a:xfrm>
        </p:grpSpPr>
        <p:sp>
          <p:nvSpPr>
            <p:cNvPr id="143" name="Arc 75">
              <a:extLst>
                <a:ext uri="{FF2B5EF4-FFF2-40B4-BE49-F238E27FC236}">
                  <a16:creationId xmlns:a16="http://schemas.microsoft.com/office/drawing/2014/main" id="{CC3FA99F-8A8F-4E09-B539-3FE88EB84B5D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Arc 76">
              <a:extLst>
                <a:ext uri="{FF2B5EF4-FFF2-40B4-BE49-F238E27FC236}">
                  <a16:creationId xmlns:a16="http://schemas.microsoft.com/office/drawing/2014/main" id="{511A823A-DBDF-44F7-81C9-1FB15A0BC96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5" name="Group 67">
            <a:extLst>
              <a:ext uri="{FF2B5EF4-FFF2-40B4-BE49-F238E27FC236}">
                <a16:creationId xmlns:a16="http://schemas.microsoft.com/office/drawing/2014/main" id="{1C5C54B7-FDDA-4A87-A01A-C840523F09A9}"/>
              </a:ext>
            </a:extLst>
          </p:cNvPr>
          <p:cNvGrpSpPr/>
          <p:nvPr/>
        </p:nvGrpSpPr>
        <p:grpSpPr>
          <a:xfrm>
            <a:off x="9741018" y="1450871"/>
            <a:ext cx="1005840" cy="1014737"/>
            <a:chOff x="9268877" y="1596791"/>
            <a:chExt cx="1005840" cy="1014737"/>
          </a:xfrm>
        </p:grpSpPr>
        <p:sp>
          <p:nvSpPr>
            <p:cNvPr id="146" name="Arc 66">
              <a:extLst>
                <a:ext uri="{FF2B5EF4-FFF2-40B4-BE49-F238E27FC236}">
                  <a16:creationId xmlns:a16="http://schemas.microsoft.com/office/drawing/2014/main" id="{56D50C85-069C-487F-9F36-3B6F6C69B3B6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Arc 64">
              <a:extLst>
                <a:ext uri="{FF2B5EF4-FFF2-40B4-BE49-F238E27FC236}">
                  <a16:creationId xmlns:a16="http://schemas.microsoft.com/office/drawing/2014/main" id="{B7DA855B-E534-442B-A9DF-53B86041414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381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48" name="Group 68">
            <a:extLst>
              <a:ext uri="{FF2B5EF4-FFF2-40B4-BE49-F238E27FC236}">
                <a16:creationId xmlns:a16="http://schemas.microsoft.com/office/drawing/2014/main" id="{7ADE8D72-0089-47CA-9CAC-9B2DAD32AD68}"/>
              </a:ext>
            </a:extLst>
          </p:cNvPr>
          <p:cNvGrpSpPr/>
          <p:nvPr/>
        </p:nvGrpSpPr>
        <p:grpSpPr>
          <a:xfrm>
            <a:off x="9741018" y="3486260"/>
            <a:ext cx="1005840" cy="1014737"/>
            <a:chOff x="9268877" y="1596791"/>
            <a:chExt cx="1005840" cy="1014737"/>
          </a:xfrm>
        </p:grpSpPr>
        <p:sp>
          <p:nvSpPr>
            <p:cNvPr id="149" name="Arc 69">
              <a:extLst>
                <a:ext uri="{FF2B5EF4-FFF2-40B4-BE49-F238E27FC236}">
                  <a16:creationId xmlns:a16="http://schemas.microsoft.com/office/drawing/2014/main" id="{B88AB438-4F0B-4796-863D-23A04841A480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605688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Arc 70">
              <a:extLst>
                <a:ext uri="{FF2B5EF4-FFF2-40B4-BE49-F238E27FC236}">
                  <a16:creationId xmlns:a16="http://schemas.microsoft.com/office/drawing/2014/main" id="{1974AEFE-CE98-48E3-BA5E-C08602CC9D0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381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51" name="Straight Connector 5">
            <a:extLst>
              <a:ext uri="{FF2B5EF4-FFF2-40B4-BE49-F238E27FC236}">
                <a16:creationId xmlns:a16="http://schemas.microsoft.com/office/drawing/2014/main" id="{4AA9295F-1037-409A-8BC6-534A137C5B1F}"/>
              </a:ext>
            </a:extLst>
          </p:cNvPr>
          <p:cNvCxnSpPr/>
          <p:nvPr/>
        </p:nvCxnSpPr>
        <p:spPr>
          <a:xfrm>
            <a:off x="1495723" y="1450871"/>
            <a:ext cx="874821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Oval 151">
            <a:extLst>
              <a:ext uri="{FF2B5EF4-FFF2-40B4-BE49-F238E27FC236}">
                <a16:creationId xmlns:a16="http://schemas.microsoft.com/office/drawing/2014/main" id="{6240F916-7E4F-4782-9EA9-2C9A16ECDAA4}"/>
              </a:ext>
            </a:extLst>
          </p:cNvPr>
          <p:cNvSpPr>
            <a:spLocks noChangeAspect="1"/>
          </p:cNvSpPr>
          <p:nvPr/>
        </p:nvSpPr>
        <p:spPr>
          <a:xfrm>
            <a:off x="2599213" y="1315659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3" name="Oval 152">
            <a:extLst>
              <a:ext uri="{FF2B5EF4-FFF2-40B4-BE49-F238E27FC236}">
                <a16:creationId xmlns:a16="http://schemas.microsoft.com/office/drawing/2014/main" id="{8E78BCFD-6EB7-49EC-A512-015063271B63}"/>
              </a:ext>
            </a:extLst>
          </p:cNvPr>
          <p:cNvSpPr>
            <a:spLocks noChangeAspect="1"/>
          </p:cNvSpPr>
          <p:nvPr/>
        </p:nvSpPr>
        <p:spPr>
          <a:xfrm>
            <a:off x="5554236" y="1315659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4" name="Oval 153">
            <a:extLst>
              <a:ext uri="{FF2B5EF4-FFF2-40B4-BE49-F238E27FC236}">
                <a16:creationId xmlns:a16="http://schemas.microsoft.com/office/drawing/2014/main" id="{8B3298CB-F432-4D20-927C-5B77AC62AABC}"/>
              </a:ext>
            </a:extLst>
          </p:cNvPr>
          <p:cNvSpPr>
            <a:spLocks noChangeAspect="1"/>
          </p:cNvSpPr>
          <p:nvPr/>
        </p:nvSpPr>
        <p:spPr>
          <a:xfrm>
            <a:off x="8509260" y="1315659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155" name="Straight Connector 7">
            <a:extLst>
              <a:ext uri="{FF2B5EF4-FFF2-40B4-BE49-F238E27FC236}">
                <a16:creationId xmlns:a16="http://schemas.microsoft.com/office/drawing/2014/main" id="{53019F85-5FCA-40FE-8CD1-B877359CC03A}"/>
              </a:ext>
            </a:extLst>
          </p:cNvPr>
          <p:cNvCxnSpPr/>
          <p:nvPr/>
        </p:nvCxnSpPr>
        <p:spPr>
          <a:xfrm flipV="1">
            <a:off x="1965917" y="2465540"/>
            <a:ext cx="8280000" cy="68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0">
            <a:extLst>
              <a:ext uri="{FF2B5EF4-FFF2-40B4-BE49-F238E27FC236}">
                <a16:creationId xmlns:a16="http://schemas.microsoft.com/office/drawing/2014/main" id="{EEE2D4E7-2290-4A85-85A4-DAD608CB4FDF}"/>
              </a:ext>
            </a:extLst>
          </p:cNvPr>
          <p:cNvCxnSpPr/>
          <p:nvPr/>
        </p:nvCxnSpPr>
        <p:spPr>
          <a:xfrm flipV="1">
            <a:off x="1965917" y="3486260"/>
            <a:ext cx="8280000" cy="68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2">
            <a:extLst>
              <a:ext uri="{FF2B5EF4-FFF2-40B4-BE49-F238E27FC236}">
                <a16:creationId xmlns:a16="http://schemas.microsoft.com/office/drawing/2014/main" id="{4EDB76BC-5D87-47D7-A4D4-CD107F7F4B4B}"/>
              </a:ext>
            </a:extLst>
          </p:cNvPr>
          <p:cNvCxnSpPr/>
          <p:nvPr/>
        </p:nvCxnSpPr>
        <p:spPr>
          <a:xfrm flipV="1">
            <a:off x="1965917" y="4500929"/>
            <a:ext cx="8280000" cy="68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4">
            <a:extLst>
              <a:ext uri="{FF2B5EF4-FFF2-40B4-BE49-F238E27FC236}">
                <a16:creationId xmlns:a16="http://schemas.microsoft.com/office/drawing/2014/main" id="{804E3CB4-CA72-400B-B634-39720B607CBD}"/>
              </a:ext>
            </a:extLst>
          </p:cNvPr>
          <p:cNvCxnSpPr/>
          <p:nvPr/>
        </p:nvCxnSpPr>
        <p:spPr>
          <a:xfrm flipV="1">
            <a:off x="1964928" y="5514157"/>
            <a:ext cx="8280000" cy="68"/>
          </a:xfrm>
          <a:prstGeom prst="line">
            <a:avLst/>
          </a:prstGeom>
          <a:ln w="38100">
            <a:solidFill>
              <a:schemeClr val="accent4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Oval 158">
            <a:extLst>
              <a:ext uri="{FF2B5EF4-FFF2-40B4-BE49-F238E27FC236}">
                <a16:creationId xmlns:a16="http://schemas.microsoft.com/office/drawing/2014/main" id="{C424DD0C-48AA-4954-BF57-6CB9B62BE950}"/>
              </a:ext>
            </a:extLst>
          </p:cNvPr>
          <p:cNvSpPr>
            <a:spLocks noChangeAspect="1"/>
          </p:cNvSpPr>
          <p:nvPr/>
        </p:nvSpPr>
        <p:spPr>
          <a:xfrm>
            <a:off x="959291" y="2630541"/>
            <a:ext cx="687004" cy="68700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0" name="Oval 159">
            <a:extLst>
              <a:ext uri="{FF2B5EF4-FFF2-40B4-BE49-F238E27FC236}">
                <a16:creationId xmlns:a16="http://schemas.microsoft.com/office/drawing/2014/main" id="{0CBF56F4-5806-4868-9783-904C69386CDF}"/>
              </a:ext>
            </a:extLst>
          </p:cNvPr>
          <p:cNvSpPr>
            <a:spLocks noChangeAspect="1"/>
          </p:cNvSpPr>
          <p:nvPr/>
        </p:nvSpPr>
        <p:spPr>
          <a:xfrm>
            <a:off x="10549911" y="3642598"/>
            <a:ext cx="687004" cy="687004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1" name="Oval 160">
            <a:extLst>
              <a:ext uri="{FF2B5EF4-FFF2-40B4-BE49-F238E27FC236}">
                <a16:creationId xmlns:a16="http://schemas.microsoft.com/office/drawing/2014/main" id="{2258B166-15C3-4E18-9A7A-08DCA33E20C4}"/>
              </a:ext>
            </a:extLst>
          </p:cNvPr>
          <p:cNvSpPr>
            <a:spLocks noChangeAspect="1"/>
          </p:cNvSpPr>
          <p:nvPr/>
        </p:nvSpPr>
        <p:spPr>
          <a:xfrm>
            <a:off x="3758330" y="4156227"/>
            <a:ext cx="687004" cy="687004"/>
          </a:xfrm>
          <a:prstGeom prst="ellipse">
            <a:avLst/>
          </a:prstGeom>
          <a:solidFill>
            <a:schemeClr val="accent3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1BC3E05F-FB0E-4B3D-BDF7-EAA84B5987EB}"/>
              </a:ext>
            </a:extLst>
          </p:cNvPr>
          <p:cNvSpPr>
            <a:spLocks noChangeAspect="1"/>
          </p:cNvSpPr>
          <p:nvPr/>
        </p:nvSpPr>
        <p:spPr>
          <a:xfrm>
            <a:off x="5987000" y="3136106"/>
            <a:ext cx="687004" cy="687004"/>
          </a:xfrm>
          <a:prstGeom prst="ellipse">
            <a:avLst/>
          </a:prstGeom>
          <a:solidFill>
            <a:schemeClr val="accent2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129F762E-27AA-4C6D-96E8-E521398D0596}"/>
              </a:ext>
            </a:extLst>
          </p:cNvPr>
          <p:cNvSpPr>
            <a:spLocks noChangeAspect="1"/>
          </p:cNvSpPr>
          <p:nvPr/>
        </p:nvSpPr>
        <p:spPr>
          <a:xfrm>
            <a:off x="3774968" y="2124001"/>
            <a:ext cx="687004" cy="687004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4" name="Oval 163">
            <a:extLst>
              <a:ext uri="{FF2B5EF4-FFF2-40B4-BE49-F238E27FC236}">
                <a16:creationId xmlns:a16="http://schemas.microsoft.com/office/drawing/2014/main" id="{21DD2CDF-1FEF-485A-A76B-4503E9139025}"/>
              </a:ext>
            </a:extLst>
          </p:cNvPr>
          <p:cNvSpPr>
            <a:spLocks noChangeAspect="1"/>
          </p:cNvSpPr>
          <p:nvPr/>
        </p:nvSpPr>
        <p:spPr>
          <a:xfrm>
            <a:off x="6168187" y="2288667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5" name="Oval 164">
            <a:extLst>
              <a:ext uri="{FF2B5EF4-FFF2-40B4-BE49-F238E27FC236}">
                <a16:creationId xmlns:a16="http://schemas.microsoft.com/office/drawing/2014/main" id="{89095FB8-D211-4DED-9A59-F5CB0965122B}"/>
              </a:ext>
            </a:extLst>
          </p:cNvPr>
          <p:cNvSpPr>
            <a:spLocks noChangeAspect="1"/>
          </p:cNvSpPr>
          <p:nvPr/>
        </p:nvSpPr>
        <p:spPr>
          <a:xfrm>
            <a:off x="8509260" y="2288667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6" name="TextBox 38">
            <a:extLst>
              <a:ext uri="{FF2B5EF4-FFF2-40B4-BE49-F238E27FC236}">
                <a16:creationId xmlns:a16="http://schemas.microsoft.com/office/drawing/2014/main" id="{49D46492-2263-42F0-9AF3-875A5D0B6671}"/>
              </a:ext>
            </a:extLst>
          </p:cNvPr>
          <p:cNvSpPr txBox="1"/>
          <p:nvPr/>
        </p:nvSpPr>
        <p:spPr>
          <a:xfrm>
            <a:off x="5988905" y="2525284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5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2DA2B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7" name="Oval 166">
            <a:extLst>
              <a:ext uri="{FF2B5EF4-FFF2-40B4-BE49-F238E27FC236}">
                <a16:creationId xmlns:a16="http://schemas.microsoft.com/office/drawing/2014/main" id="{783A561C-1278-4EBF-998A-DDFFB1EF0C02}"/>
              </a:ext>
            </a:extLst>
          </p:cNvPr>
          <p:cNvSpPr>
            <a:spLocks noChangeAspect="1"/>
          </p:cNvSpPr>
          <p:nvPr/>
        </p:nvSpPr>
        <p:spPr>
          <a:xfrm>
            <a:off x="3827114" y="3366897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8" name="TextBox 41">
            <a:extLst>
              <a:ext uri="{FF2B5EF4-FFF2-40B4-BE49-F238E27FC236}">
                <a16:creationId xmlns:a16="http://schemas.microsoft.com/office/drawing/2014/main" id="{0F1D9339-3EB3-48BF-B0E6-2FE316487796}"/>
              </a:ext>
            </a:extLst>
          </p:cNvPr>
          <p:cNvSpPr txBox="1"/>
          <p:nvPr/>
        </p:nvSpPr>
        <p:spPr>
          <a:xfrm>
            <a:off x="3631194" y="3565089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6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814711F8-AFD3-4812-AD4D-CC05D41B6D62}"/>
              </a:ext>
            </a:extLst>
          </p:cNvPr>
          <p:cNvSpPr>
            <a:spLocks noChangeAspect="1"/>
          </p:cNvSpPr>
          <p:nvPr/>
        </p:nvSpPr>
        <p:spPr>
          <a:xfrm>
            <a:off x="8509260" y="3366897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0" name="TextBox 45">
            <a:extLst>
              <a:ext uri="{FF2B5EF4-FFF2-40B4-BE49-F238E27FC236}">
                <a16:creationId xmlns:a16="http://schemas.microsoft.com/office/drawing/2014/main" id="{6CEF72C8-183C-41F7-917E-206377084A3E}"/>
              </a:ext>
            </a:extLst>
          </p:cNvPr>
          <p:cNvSpPr txBox="1"/>
          <p:nvPr/>
        </p:nvSpPr>
        <p:spPr>
          <a:xfrm>
            <a:off x="8346616" y="3565089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7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41F63E53-A093-459D-A97A-10AB3AE8CAC8}"/>
              </a:ext>
            </a:extLst>
          </p:cNvPr>
          <p:cNvSpPr>
            <a:spLocks noChangeAspect="1"/>
          </p:cNvSpPr>
          <p:nvPr/>
        </p:nvSpPr>
        <p:spPr>
          <a:xfrm>
            <a:off x="8509260" y="4354051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2" name="TextBox 50">
            <a:extLst>
              <a:ext uri="{FF2B5EF4-FFF2-40B4-BE49-F238E27FC236}">
                <a16:creationId xmlns:a16="http://schemas.microsoft.com/office/drawing/2014/main" id="{33E61FA2-BF26-4F48-BBB5-A87D8C645C51}"/>
              </a:ext>
            </a:extLst>
          </p:cNvPr>
          <p:cNvSpPr txBox="1"/>
          <p:nvPr/>
        </p:nvSpPr>
        <p:spPr>
          <a:xfrm>
            <a:off x="5988903" y="4563372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9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3" name="TextBox 51">
            <a:extLst>
              <a:ext uri="{FF2B5EF4-FFF2-40B4-BE49-F238E27FC236}">
                <a16:creationId xmlns:a16="http://schemas.microsoft.com/office/drawing/2014/main" id="{CCC685B1-8DD1-473F-9129-250DAAE42E55}"/>
              </a:ext>
            </a:extLst>
          </p:cNvPr>
          <p:cNvSpPr txBox="1"/>
          <p:nvPr/>
        </p:nvSpPr>
        <p:spPr>
          <a:xfrm>
            <a:off x="8346616" y="4565755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8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23A164B1-FBD1-4CB0-AA80-1FF470BA378D}"/>
              </a:ext>
            </a:extLst>
          </p:cNvPr>
          <p:cNvSpPr>
            <a:spLocks noChangeAspect="1"/>
          </p:cNvSpPr>
          <p:nvPr/>
        </p:nvSpPr>
        <p:spPr>
          <a:xfrm>
            <a:off x="2599213" y="5377439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5" name="TextBox 53">
            <a:extLst>
              <a:ext uri="{FF2B5EF4-FFF2-40B4-BE49-F238E27FC236}">
                <a16:creationId xmlns:a16="http://schemas.microsoft.com/office/drawing/2014/main" id="{C8629C18-5F96-4E60-AF75-913ED2C2FFB4}"/>
              </a:ext>
            </a:extLst>
          </p:cNvPr>
          <p:cNvSpPr txBox="1"/>
          <p:nvPr/>
        </p:nvSpPr>
        <p:spPr>
          <a:xfrm>
            <a:off x="2348700" y="5610323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11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6" name="TextBox 56">
            <a:extLst>
              <a:ext uri="{FF2B5EF4-FFF2-40B4-BE49-F238E27FC236}">
                <a16:creationId xmlns:a16="http://schemas.microsoft.com/office/drawing/2014/main" id="{0163088D-E2DB-423D-99E1-8145B73FED18}"/>
              </a:ext>
            </a:extLst>
          </p:cNvPr>
          <p:cNvSpPr txBox="1"/>
          <p:nvPr/>
        </p:nvSpPr>
        <p:spPr>
          <a:xfrm>
            <a:off x="4464328" y="5612706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12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77" name="Group 71">
            <a:extLst>
              <a:ext uri="{FF2B5EF4-FFF2-40B4-BE49-F238E27FC236}">
                <a16:creationId xmlns:a16="http://schemas.microsoft.com/office/drawing/2014/main" id="{434D5E57-13DF-4314-BDD5-15E738E89DC3}"/>
              </a:ext>
            </a:extLst>
          </p:cNvPr>
          <p:cNvGrpSpPr/>
          <p:nvPr/>
        </p:nvGrpSpPr>
        <p:grpSpPr>
          <a:xfrm rot="10800000">
            <a:off x="1462997" y="4508256"/>
            <a:ext cx="1005840" cy="1010390"/>
            <a:chOff x="9268877" y="1592241"/>
            <a:chExt cx="1005840" cy="1010390"/>
          </a:xfrm>
        </p:grpSpPr>
        <p:sp>
          <p:nvSpPr>
            <p:cNvPr id="178" name="Arc 72">
              <a:extLst>
                <a:ext uri="{FF2B5EF4-FFF2-40B4-BE49-F238E27FC236}">
                  <a16:creationId xmlns:a16="http://schemas.microsoft.com/office/drawing/2014/main" id="{83635EEA-3972-4176-A8F8-210E8FD772FC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9268877" y="159224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Arc 73">
              <a:extLst>
                <a:ext uri="{FF2B5EF4-FFF2-40B4-BE49-F238E27FC236}">
                  <a16:creationId xmlns:a16="http://schemas.microsoft.com/office/drawing/2014/main" id="{A57997C0-B852-489B-8D92-F225F2616A3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268877" y="1596791"/>
              <a:ext cx="1005840" cy="1005840"/>
            </a:xfrm>
            <a:prstGeom prst="arc">
              <a:avLst>
                <a:gd name="adj1" fmla="val 16200000"/>
                <a:gd name="adj2" fmla="val 66898"/>
              </a:avLst>
            </a:prstGeom>
            <a:ln w="381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81" name="TextBox 88">
            <a:extLst>
              <a:ext uri="{FF2B5EF4-FFF2-40B4-BE49-F238E27FC236}">
                <a16:creationId xmlns:a16="http://schemas.microsoft.com/office/drawing/2014/main" id="{12935753-7A0E-4776-A504-B51052482513}"/>
              </a:ext>
            </a:extLst>
          </p:cNvPr>
          <p:cNvSpPr txBox="1"/>
          <p:nvPr/>
        </p:nvSpPr>
        <p:spPr>
          <a:xfrm>
            <a:off x="1607033" y="5882977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. Komisyon Toplantıları ve Raporları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82" name="TextBox 89">
            <a:extLst>
              <a:ext uri="{FF2B5EF4-FFF2-40B4-BE49-F238E27FC236}">
                <a16:creationId xmlns:a16="http://schemas.microsoft.com/office/drawing/2014/main" id="{41F258D2-9AFB-4C26-BA18-EBB96C569D58}"/>
              </a:ext>
            </a:extLst>
          </p:cNvPr>
          <p:cNvSpPr txBox="1"/>
          <p:nvPr/>
        </p:nvSpPr>
        <p:spPr>
          <a:xfrm>
            <a:off x="3671895" y="5881647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mo Üretimler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83" name="TextBox 91">
            <a:extLst>
              <a:ext uri="{FF2B5EF4-FFF2-40B4-BE49-F238E27FC236}">
                <a16:creationId xmlns:a16="http://schemas.microsoft.com/office/drawing/2014/main" id="{EBF9ED30-F59F-423E-8E0F-245A6EA775D8}"/>
              </a:ext>
            </a:extLst>
          </p:cNvPr>
          <p:cNvSpPr txBox="1"/>
          <p:nvPr/>
        </p:nvSpPr>
        <p:spPr>
          <a:xfrm>
            <a:off x="2409480" y="1518255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1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4" name="TextBox 92">
            <a:extLst>
              <a:ext uri="{FF2B5EF4-FFF2-40B4-BE49-F238E27FC236}">
                <a16:creationId xmlns:a16="http://schemas.microsoft.com/office/drawing/2014/main" id="{68881E2B-AB62-4704-BB88-1916A4189300}"/>
              </a:ext>
            </a:extLst>
          </p:cNvPr>
          <p:cNvSpPr txBox="1"/>
          <p:nvPr/>
        </p:nvSpPr>
        <p:spPr>
          <a:xfrm>
            <a:off x="5381143" y="1520638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2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5" name="TextBox 94">
            <a:extLst>
              <a:ext uri="{FF2B5EF4-FFF2-40B4-BE49-F238E27FC236}">
                <a16:creationId xmlns:a16="http://schemas.microsoft.com/office/drawing/2014/main" id="{DA380798-CA25-402C-8FAE-FEB12D8A0924}"/>
              </a:ext>
            </a:extLst>
          </p:cNvPr>
          <p:cNvSpPr txBox="1"/>
          <p:nvPr/>
        </p:nvSpPr>
        <p:spPr>
          <a:xfrm>
            <a:off x="1597009" y="1780698"/>
            <a:ext cx="23134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100" kern="0" dirty="0">
                <a:latin typeface="Calibri"/>
              </a:rPr>
              <a:t>Dağıtım Şirketleri İle Proje Bilgilendirme Toplantısı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6" name="TextBox 95">
            <a:extLst>
              <a:ext uri="{FF2B5EF4-FFF2-40B4-BE49-F238E27FC236}">
                <a16:creationId xmlns:a16="http://schemas.microsoft.com/office/drawing/2014/main" id="{70EB1566-733E-47BB-8506-D23F20F1A1C8}"/>
              </a:ext>
            </a:extLst>
          </p:cNvPr>
          <p:cNvSpPr txBox="1"/>
          <p:nvPr/>
        </p:nvSpPr>
        <p:spPr>
          <a:xfrm>
            <a:off x="4527928" y="1789518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Danışman Firmaların Belirlenmesi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87" name="TextBox 93">
            <a:extLst>
              <a:ext uri="{FF2B5EF4-FFF2-40B4-BE49-F238E27FC236}">
                <a16:creationId xmlns:a16="http://schemas.microsoft.com/office/drawing/2014/main" id="{A4EDC113-340A-4430-AEFB-0044040F0824}"/>
              </a:ext>
            </a:extLst>
          </p:cNvPr>
          <p:cNvSpPr txBox="1"/>
          <p:nvPr/>
        </p:nvSpPr>
        <p:spPr>
          <a:xfrm>
            <a:off x="8352805" y="1523021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46464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3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46464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8" name="TextBox 96">
            <a:extLst>
              <a:ext uri="{FF2B5EF4-FFF2-40B4-BE49-F238E27FC236}">
                <a16:creationId xmlns:a16="http://schemas.microsoft.com/office/drawing/2014/main" id="{FCF1A075-EBD1-4ACF-84D8-BDBACD307363}"/>
              </a:ext>
            </a:extLst>
          </p:cNvPr>
          <p:cNvSpPr txBox="1"/>
          <p:nvPr/>
        </p:nvSpPr>
        <p:spPr>
          <a:xfrm>
            <a:off x="7468588" y="1744205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EPDK MASS Ar-Ge Projesi Başvurusu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9" name="TextBox 101">
            <a:extLst>
              <a:ext uri="{FF2B5EF4-FFF2-40B4-BE49-F238E27FC236}">
                <a16:creationId xmlns:a16="http://schemas.microsoft.com/office/drawing/2014/main" id="{FF298154-1A1E-4304-8C8D-E126FD568B6D}"/>
              </a:ext>
            </a:extLst>
          </p:cNvPr>
          <p:cNvSpPr txBox="1"/>
          <p:nvPr/>
        </p:nvSpPr>
        <p:spPr>
          <a:xfrm>
            <a:off x="8281427" y="2504839"/>
            <a:ext cx="6832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2DA2B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4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2DA2B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0" name="TextBox 102">
            <a:extLst>
              <a:ext uri="{FF2B5EF4-FFF2-40B4-BE49-F238E27FC236}">
                <a16:creationId xmlns:a16="http://schemas.microsoft.com/office/drawing/2014/main" id="{E4482DD5-B307-4681-BC90-F336578CE593}"/>
              </a:ext>
            </a:extLst>
          </p:cNvPr>
          <p:cNvSpPr txBox="1"/>
          <p:nvPr/>
        </p:nvSpPr>
        <p:spPr>
          <a:xfrm>
            <a:off x="7466316" y="2726023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PDK MASS Proje Sunumu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91" name="TextBox 103">
            <a:extLst>
              <a:ext uri="{FF2B5EF4-FFF2-40B4-BE49-F238E27FC236}">
                <a16:creationId xmlns:a16="http://schemas.microsoft.com/office/drawing/2014/main" id="{86BB2AF7-9823-4047-85D0-8303F0588279}"/>
              </a:ext>
            </a:extLst>
          </p:cNvPr>
          <p:cNvSpPr txBox="1"/>
          <p:nvPr/>
        </p:nvSpPr>
        <p:spPr>
          <a:xfrm>
            <a:off x="5173793" y="2740780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S Proje Kabulü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2" name="TextBox 104">
            <a:extLst>
              <a:ext uri="{FF2B5EF4-FFF2-40B4-BE49-F238E27FC236}">
                <a16:creationId xmlns:a16="http://schemas.microsoft.com/office/drawing/2014/main" id="{3C232B72-2982-4A69-B5F1-CA7494A5C8EB}"/>
              </a:ext>
            </a:extLst>
          </p:cNvPr>
          <p:cNvSpPr txBox="1"/>
          <p:nvPr/>
        </p:nvSpPr>
        <p:spPr>
          <a:xfrm>
            <a:off x="7427601" y="3806767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lt Komisyonların Oluşturulması</a:t>
            </a: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193" name="TextBox 105">
            <a:extLst>
              <a:ext uri="{FF2B5EF4-FFF2-40B4-BE49-F238E27FC236}">
                <a16:creationId xmlns:a16="http://schemas.microsoft.com/office/drawing/2014/main" id="{6159B8C5-6B33-466B-B05A-8E8E7A2F28BF}"/>
              </a:ext>
            </a:extLst>
          </p:cNvPr>
          <p:cNvSpPr txBox="1"/>
          <p:nvPr/>
        </p:nvSpPr>
        <p:spPr>
          <a:xfrm>
            <a:off x="7568318" y="4778200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S Portal Canlıya Geçiş 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4" name="TextBox 106">
            <a:extLst>
              <a:ext uri="{FF2B5EF4-FFF2-40B4-BE49-F238E27FC236}">
                <a16:creationId xmlns:a16="http://schemas.microsoft.com/office/drawing/2014/main" id="{B61BAB66-1DF4-45BD-B310-F298186841FD}"/>
              </a:ext>
            </a:extLst>
          </p:cNvPr>
          <p:cNvSpPr txBox="1"/>
          <p:nvPr/>
        </p:nvSpPr>
        <p:spPr>
          <a:xfrm>
            <a:off x="5177525" y="4818016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S Web Canlıya Geçiş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5" name="TextBox 107">
            <a:extLst>
              <a:ext uri="{FF2B5EF4-FFF2-40B4-BE49-F238E27FC236}">
                <a16:creationId xmlns:a16="http://schemas.microsoft.com/office/drawing/2014/main" id="{0D3E680F-1379-433B-93B5-95CBC24B1065}"/>
              </a:ext>
            </a:extLst>
          </p:cNvPr>
          <p:cNvSpPr txBox="1"/>
          <p:nvPr/>
        </p:nvSpPr>
        <p:spPr>
          <a:xfrm>
            <a:off x="2816083" y="3828047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özleşmenin İmzalanması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75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3" name="POWER_USER_ID_ICONS_Board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AAB1916-135A-4504-B58D-A5CCB3F5DC49}"/>
              </a:ext>
            </a:extLst>
          </p:cNvPr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6128841" y="3192460"/>
            <a:ext cx="412665" cy="524310"/>
          </a:xfrm>
          <a:custGeom>
            <a:avLst/>
            <a:gdLst>
              <a:gd name="T0" fmla="*/ 516 w 567"/>
              <a:gd name="T1" fmla="*/ 239 h 719"/>
              <a:gd name="T2" fmla="*/ 497 w 567"/>
              <a:gd name="T3" fmla="*/ 268 h 719"/>
              <a:gd name="T4" fmla="*/ 327 w 567"/>
              <a:gd name="T5" fmla="*/ 393 h 719"/>
              <a:gd name="T6" fmla="*/ 309 w 567"/>
              <a:gd name="T7" fmla="*/ 411 h 719"/>
              <a:gd name="T8" fmla="*/ 261 w 567"/>
              <a:gd name="T9" fmla="*/ 428 h 719"/>
              <a:gd name="T10" fmla="*/ 233 w 567"/>
              <a:gd name="T11" fmla="*/ 260 h 719"/>
              <a:gd name="T12" fmla="*/ 233 w 567"/>
              <a:gd name="T13" fmla="*/ 257 h 719"/>
              <a:gd name="T14" fmla="*/ 96 w 567"/>
              <a:gd name="T15" fmla="*/ 440 h 719"/>
              <a:gd name="T16" fmla="*/ 75 w 567"/>
              <a:gd name="T17" fmla="*/ 452 h 719"/>
              <a:gd name="T18" fmla="*/ 62 w 567"/>
              <a:gd name="T19" fmla="*/ 448 h 719"/>
              <a:gd name="T20" fmla="*/ 54 w 567"/>
              <a:gd name="T21" fmla="*/ 414 h 719"/>
              <a:gd name="T22" fmla="*/ 253 w 567"/>
              <a:gd name="T23" fmla="*/ 203 h 719"/>
              <a:gd name="T24" fmla="*/ 283 w 567"/>
              <a:gd name="T25" fmla="*/ 260 h 719"/>
              <a:gd name="T26" fmla="*/ 285 w 567"/>
              <a:gd name="T27" fmla="*/ 365 h 719"/>
              <a:gd name="T28" fmla="*/ 291 w 567"/>
              <a:gd name="T29" fmla="*/ 359 h 719"/>
              <a:gd name="T30" fmla="*/ 487 w 567"/>
              <a:gd name="T31" fmla="*/ 219 h 719"/>
              <a:gd name="T32" fmla="*/ 516 w 567"/>
              <a:gd name="T33" fmla="*/ 239 h 719"/>
              <a:gd name="T34" fmla="*/ 222 w 567"/>
              <a:gd name="T35" fmla="*/ 3 h 719"/>
              <a:gd name="T36" fmla="*/ 192 w 567"/>
              <a:gd name="T37" fmla="*/ 22 h 719"/>
              <a:gd name="T38" fmla="*/ 172 w 567"/>
              <a:gd name="T39" fmla="*/ 110 h 719"/>
              <a:gd name="T40" fmla="*/ 133 w 567"/>
              <a:gd name="T41" fmla="*/ 110 h 719"/>
              <a:gd name="T42" fmla="*/ 110 w 567"/>
              <a:gd name="T43" fmla="*/ 127 h 719"/>
              <a:gd name="T44" fmla="*/ 35 w 567"/>
              <a:gd name="T45" fmla="*/ 127 h 719"/>
              <a:gd name="T46" fmla="*/ 0 w 567"/>
              <a:gd name="T47" fmla="*/ 156 h 719"/>
              <a:gd name="T48" fmla="*/ 0 w 567"/>
              <a:gd name="T49" fmla="*/ 464 h 719"/>
              <a:gd name="T50" fmla="*/ 35 w 567"/>
              <a:gd name="T51" fmla="*/ 494 h 719"/>
              <a:gd name="T52" fmla="*/ 86 w 567"/>
              <a:gd name="T53" fmla="*/ 494 h 719"/>
              <a:gd name="T54" fmla="*/ 42 w 567"/>
              <a:gd name="T55" fmla="*/ 688 h 719"/>
              <a:gd name="T56" fmla="*/ 61 w 567"/>
              <a:gd name="T57" fmla="*/ 718 h 719"/>
              <a:gd name="T58" fmla="*/ 67 w 567"/>
              <a:gd name="T59" fmla="*/ 719 h 719"/>
              <a:gd name="T60" fmla="*/ 91 w 567"/>
              <a:gd name="T61" fmla="*/ 699 h 719"/>
              <a:gd name="T62" fmla="*/ 130 w 567"/>
              <a:gd name="T63" fmla="*/ 527 h 719"/>
              <a:gd name="T64" fmla="*/ 133 w 567"/>
              <a:gd name="T65" fmla="*/ 527 h 719"/>
              <a:gd name="T66" fmla="*/ 258 w 567"/>
              <a:gd name="T67" fmla="*/ 527 h 719"/>
              <a:gd name="T68" fmla="*/ 258 w 567"/>
              <a:gd name="T69" fmla="*/ 694 h 719"/>
              <a:gd name="T70" fmla="*/ 283 w 567"/>
              <a:gd name="T71" fmla="*/ 719 h 719"/>
              <a:gd name="T72" fmla="*/ 308 w 567"/>
              <a:gd name="T73" fmla="*/ 694 h 719"/>
              <a:gd name="T74" fmla="*/ 308 w 567"/>
              <a:gd name="T75" fmla="*/ 527 h 719"/>
              <a:gd name="T76" fmla="*/ 433 w 567"/>
              <a:gd name="T77" fmla="*/ 527 h 719"/>
              <a:gd name="T78" fmla="*/ 441 w 567"/>
              <a:gd name="T79" fmla="*/ 526 h 719"/>
              <a:gd name="T80" fmla="*/ 475 w 567"/>
              <a:gd name="T81" fmla="*/ 699 h 719"/>
              <a:gd name="T82" fmla="*/ 500 w 567"/>
              <a:gd name="T83" fmla="*/ 719 h 719"/>
              <a:gd name="T84" fmla="*/ 505 w 567"/>
              <a:gd name="T85" fmla="*/ 718 h 719"/>
              <a:gd name="T86" fmla="*/ 525 w 567"/>
              <a:gd name="T87" fmla="*/ 689 h 719"/>
              <a:gd name="T88" fmla="*/ 485 w 567"/>
              <a:gd name="T89" fmla="*/ 494 h 719"/>
              <a:gd name="T90" fmla="*/ 531 w 567"/>
              <a:gd name="T91" fmla="*/ 494 h 719"/>
              <a:gd name="T92" fmla="*/ 567 w 567"/>
              <a:gd name="T93" fmla="*/ 464 h 719"/>
              <a:gd name="T94" fmla="*/ 567 w 567"/>
              <a:gd name="T95" fmla="*/ 156 h 719"/>
              <a:gd name="T96" fmla="*/ 531 w 567"/>
              <a:gd name="T97" fmla="*/ 127 h 719"/>
              <a:gd name="T98" fmla="*/ 457 w 567"/>
              <a:gd name="T99" fmla="*/ 127 h 719"/>
              <a:gd name="T100" fmla="*/ 433 w 567"/>
              <a:gd name="T101" fmla="*/ 110 h 719"/>
              <a:gd name="T102" fmla="*/ 409 w 567"/>
              <a:gd name="T103" fmla="*/ 110 h 719"/>
              <a:gd name="T104" fmla="*/ 391 w 567"/>
              <a:gd name="T105" fmla="*/ 22 h 719"/>
              <a:gd name="T106" fmla="*/ 362 w 567"/>
              <a:gd name="T107" fmla="*/ 2 h 719"/>
              <a:gd name="T108" fmla="*/ 342 w 567"/>
              <a:gd name="T109" fmla="*/ 32 h 719"/>
              <a:gd name="T110" fmla="*/ 358 w 567"/>
              <a:gd name="T111" fmla="*/ 110 h 719"/>
              <a:gd name="T112" fmla="*/ 224 w 567"/>
              <a:gd name="T113" fmla="*/ 110 h 719"/>
              <a:gd name="T114" fmla="*/ 241 w 567"/>
              <a:gd name="T115" fmla="*/ 32 h 719"/>
              <a:gd name="T116" fmla="*/ 222 w 567"/>
              <a:gd name="T117" fmla="*/ 3 h 7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67" h="719">
                <a:moveTo>
                  <a:pt x="516" y="239"/>
                </a:moveTo>
                <a:cubicBezTo>
                  <a:pt x="519" y="252"/>
                  <a:pt x="510" y="265"/>
                  <a:pt x="497" y="268"/>
                </a:cubicBezTo>
                <a:cubicBezTo>
                  <a:pt x="433" y="281"/>
                  <a:pt x="364" y="354"/>
                  <a:pt x="327" y="393"/>
                </a:cubicBezTo>
                <a:cubicBezTo>
                  <a:pt x="320" y="400"/>
                  <a:pt x="314" y="406"/>
                  <a:pt x="309" y="411"/>
                </a:cubicBezTo>
                <a:cubicBezTo>
                  <a:pt x="302" y="418"/>
                  <a:pt x="283" y="437"/>
                  <a:pt x="261" y="428"/>
                </a:cubicBezTo>
                <a:cubicBezTo>
                  <a:pt x="233" y="417"/>
                  <a:pt x="233" y="387"/>
                  <a:pt x="233" y="260"/>
                </a:cubicBezTo>
                <a:cubicBezTo>
                  <a:pt x="233" y="259"/>
                  <a:pt x="233" y="258"/>
                  <a:pt x="233" y="257"/>
                </a:cubicBezTo>
                <a:cubicBezTo>
                  <a:pt x="205" y="280"/>
                  <a:pt x="148" y="356"/>
                  <a:pt x="96" y="440"/>
                </a:cubicBezTo>
                <a:cubicBezTo>
                  <a:pt x="92" y="448"/>
                  <a:pt x="83" y="452"/>
                  <a:pt x="75" y="452"/>
                </a:cubicBezTo>
                <a:cubicBezTo>
                  <a:pt x="71" y="452"/>
                  <a:pt x="66" y="451"/>
                  <a:pt x="62" y="448"/>
                </a:cubicBezTo>
                <a:cubicBezTo>
                  <a:pt x="50" y="441"/>
                  <a:pt x="46" y="426"/>
                  <a:pt x="54" y="414"/>
                </a:cubicBezTo>
                <a:cubicBezTo>
                  <a:pt x="193" y="186"/>
                  <a:pt x="238" y="198"/>
                  <a:pt x="253" y="203"/>
                </a:cubicBezTo>
                <a:cubicBezTo>
                  <a:pt x="273" y="208"/>
                  <a:pt x="283" y="228"/>
                  <a:pt x="283" y="260"/>
                </a:cubicBezTo>
                <a:cubicBezTo>
                  <a:pt x="283" y="302"/>
                  <a:pt x="283" y="341"/>
                  <a:pt x="285" y="365"/>
                </a:cubicBezTo>
                <a:cubicBezTo>
                  <a:pt x="287" y="363"/>
                  <a:pt x="289" y="361"/>
                  <a:pt x="291" y="359"/>
                </a:cubicBezTo>
                <a:cubicBezTo>
                  <a:pt x="331" y="316"/>
                  <a:pt x="407" y="235"/>
                  <a:pt x="487" y="219"/>
                </a:cubicBezTo>
                <a:cubicBezTo>
                  <a:pt x="500" y="216"/>
                  <a:pt x="513" y="225"/>
                  <a:pt x="516" y="239"/>
                </a:cubicBezTo>
                <a:close/>
                <a:moveTo>
                  <a:pt x="222" y="3"/>
                </a:moveTo>
                <a:cubicBezTo>
                  <a:pt x="209" y="0"/>
                  <a:pt x="195" y="8"/>
                  <a:pt x="192" y="22"/>
                </a:cubicBezTo>
                <a:lnTo>
                  <a:pt x="172" y="110"/>
                </a:lnTo>
                <a:lnTo>
                  <a:pt x="133" y="110"/>
                </a:lnTo>
                <a:cubicBezTo>
                  <a:pt x="122" y="110"/>
                  <a:pt x="113" y="117"/>
                  <a:pt x="110" y="127"/>
                </a:cubicBezTo>
                <a:lnTo>
                  <a:pt x="35" y="127"/>
                </a:lnTo>
                <a:cubicBezTo>
                  <a:pt x="16" y="127"/>
                  <a:pt x="0" y="140"/>
                  <a:pt x="0" y="156"/>
                </a:cubicBezTo>
                <a:lnTo>
                  <a:pt x="0" y="464"/>
                </a:lnTo>
                <a:cubicBezTo>
                  <a:pt x="0" y="481"/>
                  <a:pt x="16" y="494"/>
                  <a:pt x="35" y="494"/>
                </a:cubicBezTo>
                <a:lnTo>
                  <a:pt x="86" y="494"/>
                </a:lnTo>
                <a:lnTo>
                  <a:pt x="42" y="688"/>
                </a:lnTo>
                <a:cubicBezTo>
                  <a:pt x="39" y="702"/>
                  <a:pt x="48" y="715"/>
                  <a:pt x="61" y="718"/>
                </a:cubicBezTo>
                <a:cubicBezTo>
                  <a:pt x="63" y="718"/>
                  <a:pt x="65" y="719"/>
                  <a:pt x="67" y="719"/>
                </a:cubicBezTo>
                <a:cubicBezTo>
                  <a:pt x="78" y="719"/>
                  <a:pt x="88" y="711"/>
                  <a:pt x="91" y="699"/>
                </a:cubicBezTo>
                <a:lnTo>
                  <a:pt x="130" y="527"/>
                </a:lnTo>
                <a:cubicBezTo>
                  <a:pt x="131" y="527"/>
                  <a:pt x="132" y="527"/>
                  <a:pt x="133" y="527"/>
                </a:cubicBezTo>
                <a:lnTo>
                  <a:pt x="258" y="527"/>
                </a:lnTo>
                <a:lnTo>
                  <a:pt x="258" y="694"/>
                </a:lnTo>
                <a:cubicBezTo>
                  <a:pt x="258" y="707"/>
                  <a:pt x="270" y="719"/>
                  <a:pt x="283" y="719"/>
                </a:cubicBezTo>
                <a:cubicBezTo>
                  <a:pt x="297" y="719"/>
                  <a:pt x="308" y="707"/>
                  <a:pt x="308" y="694"/>
                </a:cubicBezTo>
                <a:lnTo>
                  <a:pt x="308" y="527"/>
                </a:lnTo>
                <a:lnTo>
                  <a:pt x="433" y="527"/>
                </a:lnTo>
                <a:cubicBezTo>
                  <a:pt x="436" y="527"/>
                  <a:pt x="439" y="526"/>
                  <a:pt x="441" y="526"/>
                </a:cubicBezTo>
                <a:lnTo>
                  <a:pt x="475" y="699"/>
                </a:lnTo>
                <a:cubicBezTo>
                  <a:pt x="478" y="710"/>
                  <a:pt x="488" y="719"/>
                  <a:pt x="500" y="719"/>
                </a:cubicBezTo>
                <a:cubicBezTo>
                  <a:pt x="502" y="719"/>
                  <a:pt x="503" y="719"/>
                  <a:pt x="505" y="718"/>
                </a:cubicBezTo>
                <a:cubicBezTo>
                  <a:pt x="518" y="715"/>
                  <a:pt x="527" y="702"/>
                  <a:pt x="525" y="689"/>
                </a:cubicBezTo>
                <a:lnTo>
                  <a:pt x="485" y="494"/>
                </a:lnTo>
                <a:lnTo>
                  <a:pt x="531" y="494"/>
                </a:lnTo>
                <a:cubicBezTo>
                  <a:pt x="551" y="494"/>
                  <a:pt x="567" y="481"/>
                  <a:pt x="567" y="464"/>
                </a:cubicBezTo>
                <a:lnTo>
                  <a:pt x="567" y="156"/>
                </a:lnTo>
                <a:cubicBezTo>
                  <a:pt x="567" y="140"/>
                  <a:pt x="551" y="127"/>
                  <a:pt x="531" y="127"/>
                </a:cubicBezTo>
                <a:lnTo>
                  <a:pt x="457" y="127"/>
                </a:lnTo>
                <a:cubicBezTo>
                  <a:pt x="453" y="117"/>
                  <a:pt x="444" y="110"/>
                  <a:pt x="433" y="110"/>
                </a:cubicBezTo>
                <a:lnTo>
                  <a:pt x="409" y="110"/>
                </a:lnTo>
                <a:lnTo>
                  <a:pt x="391" y="22"/>
                </a:lnTo>
                <a:cubicBezTo>
                  <a:pt x="388" y="9"/>
                  <a:pt x="375" y="0"/>
                  <a:pt x="362" y="2"/>
                </a:cubicBezTo>
                <a:cubicBezTo>
                  <a:pt x="348" y="5"/>
                  <a:pt x="339" y="18"/>
                  <a:pt x="342" y="32"/>
                </a:cubicBezTo>
                <a:lnTo>
                  <a:pt x="358" y="110"/>
                </a:lnTo>
                <a:lnTo>
                  <a:pt x="224" y="110"/>
                </a:lnTo>
                <a:lnTo>
                  <a:pt x="241" y="32"/>
                </a:lnTo>
                <a:cubicBezTo>
                  <a:pt x="244" y="19"/>
                  <a:pt x="236" y="6"/>
                  <a:pt x="222" y="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04" name="POWER_USER_ID_ICONS_Clipboard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5E167C-61F1-4BB1-8228-6C0F7ED99DA7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0701585" y="3708780"/>
            <a:ext cx="388824" cy="518831"/>
            <a:chOff x="63" y="9"/>
            <a:chExt cx="326" cy="435"/>
          </a:xfrm>
          <a:solidFill>
            <a:schemeClr val="bg1"/>
          </a:solidFill>
        </p:grpSpPr>
        <p:sp>
          <p:nvSpPr>
            <p:cNvPr id="205" name="POWER_USER_ID_ICONS_Clipboard3">
              <a:extLst>
                <a:ext uri="{FF2B5EF4-FFF2-40B4-BE49-F238E27FC236}">
                  <a16:creationId xmlns:a16="http://schemas.microsoft.com/office/drawing/2014/main" id="{DE696F80-05DC-42D8-A177-6202706F9C17}"/>
                </a:ext>
              </a:extLst>
            </p:cNvPr>
            <p:cNvSpPr>
              <a:spLocks noEditPoints="1"/>
            </p:cNvSpPr>
            <p:nvPr>
              <p:custDataLst>
                <p:tags r:id="rId24"/>
              </p:custDataLst>
            </p:nvPr>
          </p:nvSpPr>
          <p:spPr bwMode="auto">
            <a:xfrm>
              <a:off x="63" y="9"/>
              <a:ext cx="326" cy="435"/>
            </a:xfrm>
            <a:custGeom>
              <a:avLst/>
              <a:gdLst>
                <a:gd name="T0" fmla="*/ 206 w 225"/>
                <a:gd name="T1" fmla="*/ 24 h 299"/>
                <a:gd name="T2" fmla="*/ 175 w 225"/>
                <a:gd name="T3" fmla="*/ 24 h 299"/>
                <a:gd name="T4" fmla="*/ 172 w 225"/>
                <a:gd name="T5" fmla="*/ 25 h 299"/>
                <a:gd name="T6" fmla="*/ 150 w 225"/>
                <a:gd name="T7" fmla="*/ 12 h 299"/>
                <a:gd name="T8" fmla="*/ 129 w 225"/>
                <a:gd name="T9" fmla="*/ 12 h 299"/>
                <a:gd name="T10" fmla="*/ 112 w 225"/>
                <a:gd name="T11" fmla="*/ 0 h 299"/>
                <a:gd name="T12" fmla="*/ 95 w 225"/>
                <a:gd name="T13" fmla="*/ 12 h 299"/>
                <a:gd name="T14" fmla="*/ 74 w 225"/>
                <a:gd name="T15" fmla="*/ 12 h 299"/>
                <a:gd name="T16" fmla="*/ 52 w 225"/>
                <a:gd name="T17" fmla="*/ 25 h 299"/>
                <a:gd name="T18" fmla="*/ 50 w 225"/>
                <a:gd name="T19" fmla="*/ 24 h 299"/>
                <a:gd name="T20" fmla="*/ 18 w 225"/>
                <a:gd name="T21" fmla="*/ 24 h 299"/>
                <a:gd name="T22" fmla="*/ 0 w 225"/>
                <a:gd name="T23" fmla="*/ 43 h 299"/>
                <a:gd name="T24" fmla="*/ 0 w 225"/>
                <a:gd name="T25" fmla="*/ 280 h 299"/>
                <a:gd name="T26" fmla="*/ 18 w 225"/>
                <a:gd name="T27" fmla="*/ 299 h 299"/>
                <a:gd name="T28" fmla="*/ 206 w 225"/>
                <a:gd name="T29" fmla="*/ 299 h 299"/>
                <a:gd name="T30" fmla="*/ 225 w 225"/>
                <a:gd name="T31" fmla="*/ 280 h 299"/>
                <a:gd name="T32" fmla="*/ 225 w 225"/>
                <a:gd name="T33" fmla="*/ 43 h 299"/>
                <a:gd name="T34" fmla="*/ 206 w 225"/>
                <a:gd name="T35" fmla="*/ 24 h 299"/>
                <a:gd name="T36" fmla="*/ 62 w 225"/>
                <a:gd name="T37" fmla="*/ 36 h 299"/>
                <a:gd name="T38" fmla="*/ 74 w 225"/>
                <a:gd name="T39" fmla="*/ 24 h 299"/>
                <a:gd name="T40" fmla="*/ 100 w 225"/>
                <a:gd name="T41" fmla="*/ 24 h 299"/>
                <a:gd name="T42" fmla="*/ 100 w 225"/>
                <a:gd name="T43" fmla="*/ 24 h 299"/>
                <a:gd name="T44" fmla="*/ 100 w 225"/>
                <a:gd name="T45" fmla="*/ 24 h 299"/>
                <a:gd name="T46" fmla="*/ 107 w 225"/>
                <a:gd name="T47" fmla="*/ 18 h 299"/>
                <a:gd name="T48" fmla="*/ 112 w 225"/>
                <a:gd name="T49" fmla="*/ 12 h 299"/>
                <a:gd name="T50" fmla="*/ 117 w 225"/>
                <a:gd name="T51" fmla="*/ 18 h 299"/>
                <a:gd name="T52" fmla="*/ 124 w 225"/>
                <a:gd name="T53" fmla="*/ 24 h 299"/>
                <a:gd name="T54" fmla="*/ 124 w 225"/>
                <a:gd name="T55" fmla="*/ 24 h 299"/>
                <a:gd name="T56" fmla="*/ 124 w 225"/>
                <a:gd name="T57" fmla="*/ 24 h 299"/>
                <a:gd name="T58" fmla="*/ 150 w 225"/>
                <a:gd name="T59" fmla="*/ 24 h 299"/>
                <a:gd name="T60" fmla="*/ 162 w 225"/>
                <a:gd name="T61" fmla="*/ 36 h 299"/>
                <a:gd name="T62" fmla="*/ 162 w 225"/>
                <a:gd name="T63" fmla="*/ 49 h 299"/>
                <a:gd name="T64" fmla="*/ 62 w 225"/>
                <a:gd name="T65" fmla="*/ 49 h 299"/>
                <a:gd name="T66" fmla="*/ 62 w 225"/>
                <a:gd name="T67" fmla="*/ 36 h 299"/>
                <a:gd name="T68" fmla="*/ 212 w 225"/>
                <a:gd name="T69" fmla="*/ 280 h 299"/>
                <a:gd name="T70" fmla="*/ 206 w 225"/>
                <a:gd name="T71" fmla="*/ 287 h 299"/>
                <a:gd name="T72" fmla="*/ 18 w 225"/>
                <a:gd name="T73" fmla="*/ 287 h 299"/>
                <a:gd name="T74" fmla="*/ 12 w 225"/>
                <a:gd name="T75" fmla="*/ 280 h 299"/>
                <a:gd name="T76" fmla="*/ 12 w 225"/>
                <a:gd name="T77" fmla="*/ 43 h 299"/>
                <a:gd name="T78" fmla="*/ 18 w 225"/>
                <a:gd name="T79" fmla="*/ 37 h 299"/>
                <a:gd name="T80" fmla="*/ 50 w 225"/>
                <a:gd name="T81" fmla="*/ 37 h 299"/>
                <a:gd name="T82" fmla="*/ 50 w 225"/>
                <a:gd name="T83" fmla="*/ 55 h 299"/>
                <a:gd name="T84" fmla="*/ 56 w 225"/>
                <a:gd name="T85" fmla="*/ 62 h 299"/>
                <a:gd name="T86" fmla="*/ 168 w 225"/>
                <a:gd name="T87" fmla="*/ 62 h 299"/>
                <a:gd name="T88" fmla="*/ 175 w 225"/>
                <a:gd name="T89" fmla="*/ 55 h 299"/>
                <a:gd name="T90" fmla="*/ 175 w 225"/>
                <a:gd name="T91" fmla="*/ 37 h 299"/>
                <a:gd name="T92" fmla="*/ 206 w 225"/>
                <a:gd name="T93" fmla="*/ 37 h 299"/>
                <a:gd name="T94" fmla="*/ 212 w 225"/>
                <a:gd name="T95" fmla="*/ 43 h 299"/>
                <a:gd name="T96" fmla="*/ 212 w 225"/>
                <a:gd name="T97" fmla="*/ 280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25" h="299">
                  <a:moveTo>
                    <a:pt x="206" y="24"/>
                  </a:moveTo>
                  <a:lnTo>
                    <a:pt x="175" y="24"/>
                  </a:lnTo>
                  <a:cubicBezTo>
                    <a:pt x="173" y="24"/>
                    <a:pt x="173" y="24"/>
                    <a:pt x="172" y="25"/>
                  </a:cubicBezTo>
                  <a:cubicBezTo>
                    <a:pt x="168" y="17"/>
                    <a:pt x="159" y="12"/>
                    <a:pt x="150" y="12"/>
                  </a:cubicBezTo>
                  <a:lnTo>
                    <a:pt x="129" y="12"/>
                  </a:lnTo>
                  <a:cubicBezTo>
                    <a:pt x="126" y="5"/>
                    <a:pt x="120" y="0"/>
                    <a:pt x="112" y="0"/>
                  </a:cubicBezTo>
                  <a:cubicBezTo>
                    <a:pt x="104" y="0"/>
                    <a:pt x="98" y="5"/>
                    <a:pt x="95" y="12"/>
                  </a:cubicBezTo>
                  <a:lnTo>
                    <a:pt x="74" y="12"/>
                  </a:lnTo>
                  <a:cubicBezTo>
                    <a:pt x="65" y="12"/>
                    <a:pt x="56" y="17"/>
                    <a:pt x="52" y="25"/>
                  </a:cubicBezTo>
                  <a:cubicBezTo>
                    <a:pt x="51" y="24"/>
                    <a:pt x="51" y="24"/>
                    <a:pt x="50" y="24"/>
                  </a:cubicBezTo>
                  <a:lnTo>
                    <a:pt x="18" y="24"/>
                  </a:lnTo>
                  <a:cubicBezTo>
                    <a:pt x="8" y="24"/>
                    <a:pt x="0" y="32"/>
                    <a:pt x="0" y="43"/>
                  </a:cubicBezTo>
                  <a:lnTo>
                    <a:pt x="0" y="280"/>
                  </a:lnTo>
                  <a:cubicBezTo>
                    <a:pt x="0" y="291"/>
                    <a:pt x="8" y="299"/>
                    <a:pt x="18" y="299"/>
                  </a:cubicBezTo>
                  <a:lnTo>
                    <a:pt x="206" y="299"/>
                  </a:lnTo>
                  <a:cubicBezTo>
                    <a:pt x="216" y="299"/>
                    <a:pt x="225" y="291"/>
                    <a:pt x="225" y="280"/>
                  </a:cubicBezTo>
                  <a:lnTo>
                    <a:pt x="225" y="43"/>
                  </a:lnTo>
                  <a:cubicBezTo>
                    <a:pt x="225" y="32"/>
                    <a:pt x="216" y="24"/>
                    <a:pt x="206" y="24"/>
                  </a:cubicBezTo>
                  <a:close/>
                  <a:moveTo>
                    <a:pt x="62" y="36"/>
                  </a:moveTo>
                  <a:cubicBezTo>
                    <a:pt x="62" y="29"/>
                    <a:pt x="67" y="24"/>
                    <a:pt x="74" y="24"/>
                  </a:cubicBez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cubicBezTo>
                    <a:pt x="104" y="24"/>
                    <a:pt x="107" y="21"/>
                    <a:pt x="107" y="18"/>
                  </a:cubicBezTo>
                  <a:cubicBezTo>
                    <a:pt x="107" y="15"/>
                    <a:pt x="109" y="12"/>
                    <a:pt x="112" y="12"/>
                  </a:cubicBezTo>
                  <a:cubicBezTo>
                    <a:pt x="115" y="12"/>
                    <a:pt x="117" y="15"/>
                    <a:pt x="117" y="18"/>
                  </a:cubicBezTo>
                  <a:cubicBezTo>
                    <a:pt x="117" y="21"/>
                    <a:pt x="120" y="24"/>
                    <a:pt x="124" y="24"/>
                  </a:cubicBezTo>
                  <a:lnTo>
                    <a:pt x="124" y="24"/>
                  </a:lnTo>
                  <a:lnTo>
                    <a:pt x="124" y="24"/>
                  </a:lnTo>
                  <a:lnTo>
                    <a:pt x="150" y="24"/>
                  </a:lnTo>
                  <a:cubicBezTo>
                    <a:pt x="157" y="24"/>
                    <a:pt x="162" y="29"/>
                    <a:pt x="162" y="36"/>
                  </a:cubicBezTo>
                  <a:lnTo>
                    <a:pt x="162" y="49"/>
                  </a:lnTo>
                  <a:lnTo>
                    <a:pt x="62" y="49"/>
                  </a:lnTo>
                  <a:lnTo>
                    <a:pt x="62" y="36"/>
                  </a:lnTo>
                  <a:close/>
                  <a:moveTo>
                    <a:pt x="212" y="280"/>
                  </a:moveTo>
                  <a:cubicBezTo>
                    <a:pt x="212" y="284"/>
                    <a:pt x="209" y="287"/>
                    <a:pt x="206" y="287"/>
                  </a:cubicBezTo>
                  <a:lnTo>
                    <a:pt x="18" y="287"/>
                  </a:lnTo>
                  <a:cubicBezTo>
                    <a:pt x="15" y="287"/>
                    <a:pt x="12" y="284"/>
                    <a:pt x="12" y="280"/>
                  </a:cubicBezTo>
                  <a:lnTo>
                    <a:pt x="12" y="43"/>
                  </a:lnTo>
                  <a:cubicBezTo>
                    <a:pt x="12" y="39"/>
                    <a:pt x="15" y="37"/>
                    <a:pt x="18" y="37"/>
                  </a:cubicBezTo>
                  <a:lnTo>
                    <a:pt x="50" y="37"/>
                  </a:lnTo>
                  <a:lnTo>
                    <a:pt x="50" y="55"/>
                  </a:lnTo>
                  <a:cubicBezTo>
                    <a:pt x="50" y="59"/>
                    <a:pt x="52" y="62"/>
                    <a:pt x="56" y="62"/>
                  </a:cubicBezTo>
                  <a:lnTo>
                    <a:pt x="168" y="62"/>
                  </a:lnTo>
                  <a:cubicBezTo>
                    <a:pt x="172" y="62"/>
                    <a:pt x="175" y="59"/>
                    <a:pt x="175" y="55"/>
                  </a:cubicBezTo>
                  <a:lnTo>
                    <a:pt x="175" y="37"/>
                  </a:lnTo>
                  <a:lnTo>
                    <a:pt x="206" y="37"/>
                  </a:lnTo>
                  <a:cubicBezTo>
                    <a:pt x="209" y="37"/>
                    <a:pt x="212" y="39"/>
                    <a:pt x="212" y="43"/>
                  </a:cubicBezTo>
                  <a:lnTo>
                    <a:pt x="212" y="2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POWER_USER_ID_ICONS_Clipboard3">
              <a:extLst>
                <a:ext uri="{FF2B5EF4-FFF2-40B4-BE49-F238E27FC236}">
                  <a16:creationId xmlns:a16="http://schemas.microsoft.com/office/drawing/2014/main" id="{85927319-6B21-4E24-9CCB-95A1EAC7F1A2}"/>
                </a:ext>
              </a:extLst>
            </p:cNvPr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125" y="245"/>
              <a:ext cx="201" cy="17"/>
            </a:xfrm>
            <a:custGeom>
              <a:avLst/>
              <a:gdLst>
                <a:gd name="T0" fmla="*/ 132 w 138"/>
                <a:gd name="T1" fmla="*/ 12 h 12"/>
                <a:gd name="T2" fmla="*/ 7 w 138"/>
                <a:gd name="T3" fmla="*/ 12 h 12"/>
                <a:gd name="T4" fmla="*/ 0 w 138"/>
                <a:gd name="T5" fmla="*/ 6 h 12"/>
                <a:gd name="T6" fmla="*/ 7 w 138"/>
                <a:gd name="T7" fmla="*/ 0 h 12"/>
                <a:gd name="T8" fmla="*/ 132 w 138"/>
                <a:gd name="T9" fmla="*/ 0 h 12"/>
                <a:gd name="T10" fmla="*/ 138 w 138"/>
                <a:gd name="T11" fmla="*/ 6 h 12"/>
                <a:gd name="T12" fmla="*/ 132 w 13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2">
                  <a:moveTo>
                    <a:pt x="132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2"/>
                    <a:pt x="138" y="6"/>
                  </a:cubicBezTo>
                  <a:cubicBezTo>
                    <a:pt x="138" y="9"/>
                    <a:pt x="135" y="12"/>
                    <a:pt x="132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POWER_USER_ID_ICONS_Clipboard3">
              <a:extLst>
                <a:ext uri="{FF2B5EF4-FFF2-40B4-BE49-F238E27FC236}">
                  <a16:creationId xmlns:a16="http://schemas.microsoft.com/office/drawing/2014/main" id="{EEBE5337-EC15-485A-BE6F-5EB4EFCD85A3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125" y="299"/>
              <a:ext cx="201" cy="19"/>
            </a:xfrm>
            <a:custGeom>
              <a:avLst/>
              <a:gdLst>
                <a:gd name="T0" fmla="*/ 132 w 138"/>
                <a:gd name="T1" fmla="*/ 13 h 13"/>
                <a:gd name="T2" fmla="*/ 7 w 138"/>
                <a:gd name="T3" fmla="*/ 13 h 13"/>
                <a:gd name="T4" fmla="*/ 0 w 138"/>
                <a:gd name="T5" fmla="*/ 6 h 13"/>
                <a:gd name="T6" fmla="*/ 7 w 138"/>
                <a:gd name="T7" fmla="*/ 0 h 13"/>
                <a:gd name="T8" fmla="*/ 132 w 138"/>
                <a:gd name="T9" fmla="*/ 0 h 13"/>
                <a:gd name="T10" fmla="*/ 138 w 138"/>
                <a:gd name="T11" fmla="*/ 6 h 13"/>
                <a:gd name="T12" fmla="*/ 132 w 138"/>
                <a:gd name="T13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13">
                  <a:moveTo>
                    <a:pt x="132" y="13"/>
                  </a:moveTo>
                  <a:lnTo>
                    <a:pt x="7" y="13"/>
                  </a:lnTo>
                  <a:cubicBezTo>
                    <a:pt x="3" y="13"/>
                    <a:pt x="0" y="10"/>
                    <a:pt x="0" y="6"/>
                  </a:cubicBezTo>
                  <a:cubicBezTo>
                    <a:pt x="0" y="3"/>
                    <a:pt x="3" y="0"/>
                    <a:pt x="7" y="0"/>
                  </a:cubicBezTo>
                  <a:lnTo>
                    <a:pt x="132" y="0"/>
                  </a:lnTo>
                  <a:cubicBezTo>
                    <a:pt x="135" y="0"/>
                    <a:pt x="138" y="3"/>
                    <a:pt x="138" y="6"/>
                  </a:cubicBezTo>
                  <a:cubicBezTo>
                    <a:pt x="138" y="10"/>
                    <a:pt x="135" y="13"/>
                    <a:pt x="132" y="1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POWER_USER_ID_ICONS_Clipboard3">
              <a:extLst>
                <a:ext uri="{FF2B5EF4-FFF2-40B4-BE49-F238E27FC236}">
                  <a16:creationId xmlns:a16="http://schemas.microsoft.com/office/drawing/2014/main" id="{11BDE3C5-4F21-42B9-9BBB-19197DDED3CC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125" y="354"/>
              <a:ext cx="109" cy="17"/>
            </a:xfrm>
            <a:custGeom>
              <a:avLst/>
              <a:gdLst>
                <a:gd name="T0" fmla="*/ 69 w 75"/>
                <a:gd name="T1" fmla="*/ 12 h 12"/>
                <a:gd name="T2" fmla="*/ 7 w 75"/>
                <a:gd name="T3" fmla="*/ 12 h 12"/>
                <a:gd name="T4" fmla="*/ 0 w 75"/>
                <a:gd name="T5" fmla="*/ 6 h 12"/>
                <a:gd name="T6" fmla="*/ 7 w 75"/>
                <a:gd name="T7" fmla="*/ 0 h 12"/>
                <a:gd name="T8" fmla="*/ 69 w 75"/>
                <a:gd name="T9" fmla="*/ 0 h 12"/>
                <a:gd name="T10" fmla="*/ 75 w 75"/>
                <a:gd name="T11" fmla="*/ 6 h 12"/>
                <a:gd name="T12" fmla="*/ 69 w 75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12">
                  <a:moveTo>
                    <a:pt x="69" y="12"/>
                  </a:moveTo>
                  <a:lnTo>
                    <a:pt x="7" y="12"/>
                  </a:ln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7" y="0"/>
                  </a:cubicBezTo>
                  <a:lnTo>
                    <a:pt x="69" y="0"/>
                  </a:lnTo>
                  <a:cubicBezTo>
                    <a:pt x="72" y="0"/>
                    <a:pt x="75" y="2"/>
                    <a:pt x="75" y="6"/>
                  </a:cubicBezTo>
                  <a:cubicBezTo>
                    <a:pt x="75" y="9"/>
                    <a:pt x="72" y="12"/>
                    <a:pt x="69" y="1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09" name="POWER_USER_ID_ICONS_Stopwatch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1BC8902F-A1DC-4437-89DD-B3BB8042B0A8}"/>
              </a:ext>
            </a:extLst>
          </p:cNvPr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3827374" y="4292957"/>
            <a:ext cx="540299" cy="400751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10" name="POWER_USER_ID_ICONS_Flag5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8BB523B-136C-4376-8349-3C5D7D902CD5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955086" y="1003689"/>
            <a:ext cx="482811" cy="621880"/>
            <a:chOff x="8" y="5"/>
            <a:chExt cx="368" cy="474"/>
          </a:xfrm>
          <a:solidFill>
            <a:schemeClr val="tx1"/>
          </a:solidFill>
        </p:grpSpPr>
        <p:sp>
          <p:nvSpPr>
            <p:cNvPr id="211" name="POWER_USER_ID_ICONS_Flag5">
              <a:extLst>
                <a:ext uri="{FF2B5EF4-FFF2-40B4-BE49-F238E27FC236}">
                  <a16:creationId xmlns:a16="http://schemas.microsoft.com/office/drawing/2014/main" id="{1AD87D9E-680E-4F74-8135-28CE17EF694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8" y="5"/>
              <a:ext cx="26" cy="474"/>
            </a:xfrm>
            <a:custGeom>
              <a:avLst/>
              <a:gdLst>
                <a:gd name="T0" fmla="*/ 68 w 68"/>
                <a:gd name="T1" fmla="*/ 1223 h 1257"/>
                <a:gd name="T2" fmla="*/ 34 w 68"/>
                <a:gd name="T3" fmla="*/ 1257 h 1257"/>
                <a:gd name="T4" fmla="*/ 34 w 68"/>
                <a:gd name="T5" fmla="*/ 1257 h 1257"/>
                <a:gd name="T6" fmla="*/ 0 w 68"/>
                <a:gd name="T7" fmla="*/ 1223 h 1257"/>
                <a:gd name="T8" fmla="*/ 0 w 68"/>
                <a:gd name="T9" fmla="*/ 34 h 1257"/>
                <a:gd name="T10" fmla="*/ 34 w 68"/>
                <a:gd name="T11" fmla="*/ 0 h 1257"/>
                <a:gd name="T12" fmla="*/ 34 w 68"/>
                <a:gd name="T13" fmla="*/ 0 h 1257"/>
                <a:gd name="T14" fmla="*/ 68 w 68"/>
                <a:gd name="T15" fmla="*/ 34 h 1257"/>
                <a:gd name="T16" fmla="*/ 68 w 68"/>
                <a:gd name="T17" fmla="*/ 1223 h 1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257">
                  <a:moveTo>
                    <a:pt x="68" y="1223"/>
                  </a:moveTo>
                  <a:cubicBezTo>
                    <a:pt x="68" y="1242"/>
                    <a:pt x="53" y="1257"/>
                    <a:pt x="34" y="1257"/>
                  </a:cubicBezTo>
                  <a:lnTo>
                    <a:pt x="34" y="1257"/>
                  </a:lnTo>
                  <a:cubicBezTo>
                    <a:pt x="15" y="1257"/>
                    <a:pt x="0" y="1242"/>
                    <a:pt x="0" y="1223"/>
                  </a:cubicBezTo>
                  <a:lnTo>
                    <a:pt x="0" y="34"/>
                  </a:lnTo>
                  <a:cubicBezTo>
                    <a:pt x="0" y="15"/>
                    <a:pt x="15" y="0"/>
                    <a:pt x="34" y="0"/>
                  </a:cubicBezTo>
                  <a:lnTo>
                    <a:pt x="34" y="0"/>
                  </a:lnTo>
                  <a:cubicBezTo>
                    <a:pt x="53" y="0"/>
                    <a:pt x="68" y="15"/>
                    <a:pt x="68" y="34"/>
                  </a:cubicBezTo>
                  <a:lnTo>
                    <a:pt x="68" y="122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POWER_USER_ID_ICONS_Flag5">
              <a:extLst>
                <a:ext uri="{FF2B5EF4-FFF2-40B4-BE49-F238E27FC236}">
                  <a16:creationId xmlns:a16="http://schemas.microsoft.com/office/drawing/2014/main" id="{42D2F994-1822-4736-AA97-21B1817B225C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4" y="26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POWER_USER_ID_ICONS_Flag5">
              <a:extLst>
                <a:ext uri="{FF2B5EF4-FFF2-40B4-BE49-F238E27FC236}">
                  <a16:creationId xmlns:a16="http://schemas.microsoft.com/office/drawing/2014/main" id="{4A3C5202-FAAB-4DD2-86B2-4B39934EB102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88" y="81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POWER_USER_ID_ICONS_Flag5">
              <a:extLst>
                <a:ext uri="{FF2B5EF4-FFF2-40B4-BE49-F238E27FC236}">
                  <a16:creationId xmlns:a16="http://schemas.microsoft.com/office/drawing/2014/main" id="{283CA39D-8D22-4F6C-B633-54614E042776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4" y="136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POWER_USER_ID_ICONS_Flag5">
              <a:extLst>
                <a:ext uri="{FF2B5EF4-FFF2-40B4-BE49-F238E27FC236}">
                  <a16:creationId xmlns:a16="http://schemas.microsoft.com/office/drawing/2014/main" id="{A4DBE636-E98B-40F2-839D-D729101F97BA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88" y="191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POWER_USER_ID_ICONS_Flag5">
              <a:extLst>
                <a:ext uri="{FF2B5EF4-FFF2-40B4-BE49-F238E27FC236}">
                  <a16:creationId xmlns:a16="http://schemas.microsoft.com/office/drawing/2014/main" id="{E0DC155F-1923-482C-B8F3-D4F6694EAE74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44" y="26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POWER_USER_ID_ICONS_Flag5">
              <a:extLst>
                <a:ext uri="{FF2B5EF4-FFF2-40B4-BE49-F238E27FC236}">
                  <a16:creationId xmlns:a16="http://schemas.microsoft.com/office/drawing/2014/main" id="{F01084EE-14A2-4752-80B3-C6BD76B61709}"/>
                </a:ext>
              </a:extLst>
            </p:cNvPr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98" y="81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POWER_USER_ID_ICONS_Flag5">
              <a:extLst>
                <a:ext uri="{FF2B5EF4-FFF2-40B4-BE49-F238E27FC236}">
                  <a16:creationId xmlns:a16="http://schemas.microsoft.com/office/drawing/2014/main" id="{2750DE98-9657-4557-BB3B-24FABC15ABF9}"/>
                </a:ext>
              </a:extLst>
            </p:cNvPr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144" y="136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POWER_USER_ID_ICONS_Flag5">
              <a:extLst>
                <a:ext uri="{FF2B5EF4-FFF2-40B4-BE49-F238E27FC236}">
                  <a16:creationId xmlns:a16="http://schemas.microsoft.com/office/drawing/2014/main" id="{F45FA009-126D-4FBE-BF73-44215E82FF4C}"/>
                </a:ext>
              </a:extLst>
            </p:cNvPr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98" y="191"/>
              <a:ext cx="55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POWER_USER_ID_ICONS_Flag5">
              <a:extLst>
                <a:ext uri="{FF2B5EF4-FFF2-40B4-BE49-F238E27FC236}">
                  <a16:creationId xmlns:a16="http://schemas.microsoft.com/office/drawing/2014/main" id="{A25381F8-BDCA-4B8A-A165-ED4B9C70FBA6}"/>
                </a:ext>
              </a:extLst>
            </p:cNvPr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253" y="26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POWER_USER_ID_ICONS_Flag5">
              <a:extLst>
                <a:ext uri="{FF2B5EF4-FFF2-40B4-BE49-F238E27FC236}">
                  <a16:creationId xmlns:a16="http://schemas.microsoft.com/office/drawing/2014/main" id="{ED7DA83E-3B3A-416A-8124-ADBF4717F510}"/>
                </a:ext>
              </a:extLst>
            </p:cNvPr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309" y="81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POWER_USER_ID_ICONS_Flag5">
              <a:extLst>
                <a:ext uri="{FF2B5EF4-FFF2-40B4-BE49-F238E27FC236}">
                  <a16:creationId xmlns:a16="http://schemas.microsoft.com/office/drawing/2014/main" id="{DBA9FBDC-FEBC-4CAE-A275-AF832CAE6D73}"/>
                </a:ext>
              </a:extLst>
            </p:cNvPr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53" y="136"/>
              <a:ext cx="56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POWER_USER_ID_ICONS_Flag5">
              <a:extLst>
                <a:ext uri="{FF2B5EF4-FFF2-40B4-BE49-F238E27FC236}">
                  <a16:creationId xmlns:a16="http://schemas.microsoft.com/office/drawing/2014/main" id="{B8D66FCD-450C-48A2-90DF-8AE512E21E9A}"/>
                </a:ext>
              </a:extLst>
            </p:cNvPr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309" y="191"/>
              <a:ext cx="54" cy="56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POWER_USER_ID_ICONS_Flag5">
              <a:extLst>
                <a:ext uri="{FF2B5EF4-FFF2-40B4-BE49-F238E27FC236}">
                  <a16:creationId xmlns:a16="http://schemas.microsoft.com/office/drawing/2014/main" id="{C6EA11FC-AB1A-44AD-A6E3-38C87D6DEDAC}"/>
                </a:ext>
              </a:extLst>
            </p:cNvPr>
            <p:cNvSpPr>
              <a:spLocks noEditPoints="1"/>
            </p:cNvSpPr>
            <p:nvPr>
              <p:custDataLst>
                <p:tags r:id="rId23"/>
              </p:custDataLst>
            </p:nvPr>
          </p:nvSpPr>
          <p:spPr bwMode="auto">
            <a:xfrm>
              <a:off x="15" y="15"/>
              <a:ext cx="361" cy="244"/>
            </a:xfrm>
            <a:custGeom>
              <a:avLst/>
              <a:gdLst>
                <a:gd name="T0" fmla="*/ 961 w 961"/>
                <a:gd name="T1" fmla="*/ 648 h 648"/>
                <a:gd name="T2" fmla="*/ 0 w 961"/>
                <a:gd name="T3" fmla="*/ 648 h 648"/>
                <a:gd name="T4" fmla="*/ 0 w 961"/>
                <a:gd name="T5" fmla="*/ 0 h 648"/>
                <a:gd name="T6" fmla="*/ 961 w 961"/>
                <a:gd name="T7" fmla="*/ 0 h 648"/>
                <a:gd name="T8" fmla="*/ 961 w 961"/>
                <a:gd name="T9" fmla="*/ 648 h 648"/>
                <a:gd name="T10" fmla="*/ 33 w 961"/>
                <a:gd name="T11" fmla="*/ 615 h 648"/>
                <a:gd name="T12" fmla="*/ 928 w 961"/>
                <a:gd name="T13" fmla="*/ 615 h 648"/>
                <a:gd name="T14" fmla="*/ 928 w 961"/>
                <a:gd name="T15" fmla="*/ 33 h 648"/>
                <a:gd name="T16" fmla="*/ 33 w 961"/>
                <a:gd name="T17" fmla="*/ 33 h 648"/>
                <a:gd name="T18" fmla="*/ 33 w 961"/>
                <a:gd name="T19" fmla="*/ 615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1" h="648">
                  <a:moveTo>
                    <a:pt x="961" y="648"/>
                  </a:moveTo>
                  <a:lnTo>
                    <a:pt x="0" y="648"/>
                  </a:lnTo>
                  <a:lnTo>
                    <a:pt x="0" y="0"/>
                  </a:lnTo>
                  <a:lnTo>
                    <a:pt x="961" y="0"/>
                  </a:lnTo>
                  <a:lnTo>
                    <a:pt x="961" y="648"/>
                  </a:lnTo>
                  <a:close/>
                  <a:moveTo>
                    <a:pt x="33" y="615"/>
                  </a:moveTo>
                  <a:lnTo>
                    <a:pt x="928" y="615"/>
                  </a:lnTo>
                  <a:lnTo>
                    <a:pt x="928" y="33"/>
                  </a:lnTo>
                  <a:lnTo>
                    <a:pt x="33" y="33"/>
                  </a:lnTo>
                  <a:lnTo>
                    <a:pt x="33" y="61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2" name="TextBox 94">
            <a:extLst>
              <a:ext uri="{FF2B5EF4-FFF2-40B4-BE49-F238E27FC236}">
                <a16:creationId xmlns:a16="http://schemas.microsoft.com/office/drawing/2014/main" id="{C2677028-4A52-4170-80DE-A16C2F87B225}"/>
              </a:ext>
            </a:extLst>
          </p:cNvPr>
          <p:cNvSpPr txBox="1"/>
          <p:nvPr/>
        </p:nvSpPr>
        <p:spPr>
          <a:xfrm>
            <a:off x="8447025" y="4096806"/>
            <a:ext cx="12311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sz="1100" kern="0" dirty="0">
                <a:solidFill>
                  <a:srgbClr val="FF0000"/>
                </a:solidFill>
                <a:latin typeface="Calibri"/>
              </a:rPr>
              <a:t>Haziran-2020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4" name="Oval 233">
            <a:extLst>
              <a:ext uri="{FF2B5EF4-FFF2-40B4-BE49-F238E27FC236}">
                <a16:creationId xmlns:a16="http://schemas.microsoft.com/office/drawing/2014/main" id="{74BDB33D-3CD1-4223-8E03-6CCC1E2CCE32}"/>
              </a:ext>
            </a:extLst>
          </p:cNvPr>
          <p:cNvSpPr>
            <a:spLocks noChangeAspect="1"/>
          </p:cNvSpPr>
          <p:nvPr/>
        </p:nvSpPr>
        <p:spPr>
          <a:xfrm>
            <a:off x="6165271" y="4351203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5" name="TextBox 50">
            <a:extLst>
              <a:ext uri="{FF2B5EF4-FFF2-40B4-BE49-F238E27FC236}">
                <a16:creationId xmlns:a16="http://schemas.microsoft.com/office/drawing/2014/main" id="{DF46F595-853B-4138-AF9E-C506EDAB48DD}"/>
              </a:ext>
            </a:extLst>
          </p:cNvPr>
          <p:cNvSpPr txBox="1"/>
          <p:nvPr/>
        </p:nvSpPr>
        <p:spPr>
          <a:xfrm>
            <a:off x="2356943" y="4560770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10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6" name="TextBox 106">
            <a:extLst>
              <a:ext uri="{FF2B5EF4-FFF2-40B4-BE49-F238E27FC236}">
                <a16:creationId xmlns:a16="http://schemas.microsoft.com/office/drawing/2014/main" id="{0D350D7A-353D-48CA-931E-23C87976C4E4}"/>
              </a:ext>
            </a:extLst>
          </p:cNvPr>
          <p:cNvSpPr txBox="1"/>
          <p:nvPr/>
        </p:nvSpPr>
        <p:spPr>
          <a:xfrm>
            <a:off x="1468034" y="4814773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. Komisyon Raporları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8" name="Oval 237">
            <a:extLst>
              <a:ext uri="{FF2B5EF4-FFF2-40B4-BE49-F238E27FC236}">
                <a16:creationId xmlns:a16="http://schemas.microsoft.com/office/drawing/2014/main" id="{766CEBFD-11C5-4FC3-8F5B-04F5D637DED9}"/>
              </a:ext>
            </a:extLst>
          </p:cNvPr>
          <p:cNvSpPr>
            <a:spLocks noChangeAspect="1"/>
          </p:cNvSpPr>
          <p:nvPr/>
        </p:nvSpPr>
        <p:spPr>
          <a:xfrm>
            <a:off x="2599213" y="4357724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0" name="Oval 239">
            <a:extLst>
              <a:ext uri="{FF2B5EF4-FFF2-40B4-BE49-F238E27FC236}">
                <a16:creationId xmlns:a16="http://schemas.microsoft.com/office/drawing/2014/main" id="{966BBBC1-3F7F-483A-B78D-0BCDB62ED527}"/>
              </a:ext>
            </a:extLst>
          </p:cNvPr>
          <p:cNvSpPr>
            <a:spLocks noChangeAspect="1"/>
          </p:cNvSpPr>
          <p:nvPr/>
        </p:nvSpPr>
        <p:spPr>
          <a:xfrm>
            <a:off x="10506830" y="1581587"/>
            <a:ext cx="730083" cy="730083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41" name="Analytics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138BA15-07E0-43D6-B57B-CCE19D22DF56}"/>
              </a:ext>
            </a:extLst>
          </p:cNvPr>
          <p:cNvGrpSpPr>
            <a:grpSpLocks noChangeAspect="1"/>
          </p:cNvGrpSpPr>
          <p:nvPr>
            <p:custDataLst>
              <p:tags r:id="rId5"/>
            </p:custDataLst>
          </p:nvPr>
        </p:nvGrpSpPr>
        <p:grpSpPr>
          <a:xfrm>
            <a:off x="10463408" y="1663793"/>
            <a:ext cx="633065" cy="542925"/>
            <a:chOff x="4683125" y="7820025"/>
            <a:chExt cx="1449388" cy="1243013"/>
          </a:xfrm>
          <a:solidFill>
            <a:schemeClr val="tx1"/>
          </a:solidFill>
        </p:grpSpPr>
        <p:sp>
          <p:nvSpPr>
            <p:cNvPr id="242" name="Rectangle 384">
              <a:extLst>
                <a:ext uri="{FF2B5EF4-FFF2-40B4-BE49-F238E27FC236}">
                  <a16:creationId xmlns:a16="http://schemas.microsoft.com/office/drawing/2014/main" id="{A95ADAC4-5471-4A9D-9379-060EDD4853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97513" y="8212138"/>
              <a:ext cx="69850" cy="32543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Rectangle 385">
              <a:extLst>
                <a:ext uri="{FF2B5EF4-FFF2-40B4-BE49-F238E27FC236}">
                  <a16:creationId xmlns:a16="http://schemas.microsoft.com/office/drawing/2014/main" id="{C3A83A87-D438-41F7-B2C7-56B9F06AA6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0225" y="8166100"/>
              <a:ext cx="68263" cy="3714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Rectangle 386">
              <a:extLst>
                <a:ext uri="{FF2B5EF4-FFF2-40B4-BE49-F238E27FC236}">
                  <a16:creationId xmlns:a16="http://schemas.microsoft.com/office/drawing/2014/main" id="{CE498956-FB1F-4BB0-86D0-44915271A28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22938" y="8099425"/>
              <a:ext cx="68263" cy="4381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Rectangle 387">
              <a:extLst>
                <a:ext uri="{FF2B5EF4-FFF2-40B4-BE49-F238E27FC236}">
                  <a16:creationId xmlns:a16="http://schemas.microsoft.com/office/drawing/2014/main" id="{D95B0259-3143-4EF4-8143-EC1440BE2B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34063" y="8240713"/>
              <a:ext cx="68263" cy="296863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Rectangle 388">
              <a:extLst>
                <a:ext uri="{FF2B5EF4-FFF2-40B4-BE49-F238E27FC236}">
                  <a16:creationId xmlns:a16="http://schemas.microsoft.com/office/drawing/2014/main" id="{4D0D282F-43EE-4C56-B831-B26BD5620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45188" y="8166100"/>
              <a:ext cx="68263" cy="3714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389">
              <a:extLst>
                <a:ext uri="{FF2B5EF4-FFF2-40B4-BE49-F238E27FC236}">
                  <a16:creationId xmlns:a16="http://schemas.microsoft.com/office/drawing/2014/main" id="{C2F611B2-4D3B-4D94-A990-73D205CFD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400" y="7985125"/>
              <a:ext cx="539750" cy="214313"/>
            </a:xfrm>
            <a:custGeom>
              <a:avLst/>
              <a:gdLst>
                <a:gd name="T0" fmla="*/ 174 w 340"/>
                <a:gd name="T1" fmla="*/ 24 h 135"/>
                <a:gd name="T2" fmla="*/ 243 w 340"/>
                <a:gd name="T3" fmla="*/ 135 h 135"/>
                <a:gd name="T4" fmla="*/ 313 w 340"/>
                <a:gd name="T5" fmla="*/ 61 h 135"/>
                <a:gd name="T6" fmla="*/ 329 w 340"/>
                <a:gd name="T7" fmla="*/ 72 h 135"/>
                <a:gd name="T8" fmla="*/ 340 w 340"/>
                <a:gd name="T9" fmla="*/ 10 h 135"/>
                <a:gd name="T10" fmla="*/ 282 w 340"/>
                <a:gd name="T11" fmla="*/ 37 h 135"/>
                <a:gd name="T12" fmla="*/ 299 w 340"/>
                <a:gd name="T13" fmla="*/ 50 h 135"/>
                <a:gd name="T14" fmla="*/ 246 w 340"/>
                <a:gd name="T15" fmla="*/ 108 h 135"/>
                <a:gd name="T16" fmla="*/ 181 w 340"/>
                <a:gd name="T17" fmla="*/ 0 h 135"/>
                <a:gd name="T18" fmla="*/ 0 w 340"/>
                <a:gd name="T19" fmla="*/ 97 h 135"/>
                <a:gd name="T20" fmla="*/ 8 w 340"/>
                <a:gd name="T21" fmla="*/ 113 h 135"/>
                <a:gd name="T22" fmla="*/ 174 w 340"/>
                <a:gd name="T23" fmla="*/ 24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0" h="135">
                  <a:moveTo>
                    <a:pt x="174" y="24"/>
                  </a:moveTo>
                  <a:lnTo>
                    <a:pt x="243" y="135"/>
                  </a:lnTo>
                  <a:lnTo>
                    <a:pt x="313" y="61"/>
                  </a:lnTo>
                  <a:lnTo>
                    <a:pt x="329" y="72"/>
                  </a:lnTo>
                  <a:lnTo>
                    <a:pt x="340" y="10"/>
                  </a:lnTo>
                  <a:lnTo>
                    <a:pt x="282" y="37"/>
                  </a:lnTo>
                  <a:lnTo>
                    <a:pt x="299" y="50"/>
                  </a:lnTo>
                  <a:lnTo>
                    <a:pt x="246" y="108"/>
                  </a:lnTo>
                  <a:lnTo>
                    <a:pt x="181" y="0"/>
                  </a:lnTo>
                  <a:lnTo>
                    <a:pt x="0" y="97"/>
                  </a:lnTo>
                  <a:lnTo>
                    <a:pt x="8" y="113"/>
                  </a:lnTo>
                  <a:lnTo>
                    <a:pt x="174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390">
              <a:extLst>
                <a:ext uri="{FF2B5EF4-FFF2-40B4-BE49-F238E27FC236}">
                  <a16:creationId xmlns:a16="http://schemas.microsoft.com/office/drawing/2014/main" id="{23F409AD-1316-4F32-A270-FC587CF60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4663" y="8647113"/>
              <a:ext cx="419100" cy="415925"/>
            </a:xfrm>
            <a:custGeom>
              <a:avLst/>
              <a:gdLst>
                <a:gd name="T0" fmla="*/ 233 w 550"/>
                <a:gd name="T1" fmla="*/ 0 h 547"/>
                <a:gd name="T2" fmla="*/ 233 w 550"/>
                <a:gd name="T3" fmla="*/ 279 h 547"/>
                <a:gd name="T4" fmla="*/ 133 w 550"/>
                <a:gd name="T5" fmla="*/ 279 h 547"/>
                <a:gd name="T6" fmla="*/ 9 w 550"/>
                <a:gd name="T7" fmla="*/ 490 h 547"/>
                <a:gd name="T8" fmla="*/ 22 w 550"/>
                <a:gd name="T9" fmla="*/ 537 h 547"/>
                <a:gd name="T10" fmla="*/ 39 w 550"/>
                <a:gd name="T11" fmla="*/ 541 h 547"/>
                <a:gd name="T12" fmla="*/ 69 w 550"/>
                <a:gd name="T13" fmla="*/ 524 h 547"/>
                <a:gd name="T14" fmla="*/ 171 w 550"/>
                <a:gd name="T15" fmla="*/ 350 h 547"/>
                <a:gd name="T16" fmla="*/ 242 w 550"/>
                <a:gd name="T17" fmla="*/ 350 h 547"/>
                <a:gd name="T18" fmla="*/ 242 w 550"/>
                <a:gd name="T19" fmla="*/ 505 h 547"/>
                <a:gd name="T20" fmla="*/ 266 w 550"/>
                <a:gd name="T21" fmla="*/ 540 h 547"/>
                <a:gd name="T22" fmla="*/ 311 w 550"/>
                <a:gd name="T23" fmla="*/ 507 h 547"/>
                <a:gd name="T24" fmla="*/ 311 w 550"/>
                <a:gd name="T25" fmla="*/ 350 h 547"/>
                <a:gd name="T26" fmla="*/ 383 w 550"/>
                <a:gd name="T27" fmla="*/ 350 h 547"/>
                <a:gd name="T28" fmla="*/ 485 w 550"/>
                <a:gd name="T29" fmla="*/ 524 h 547"/>
                <a:gd name="T30" fmla="*/ 515 w 550"/>
                <a:gd name="T31" fmla="*/ 541 h 547"/>
                <a:gd name="T32" fmla="*/ 532 w 550"/>
                <a:gd name="T33" fmla="*/ 537 h 547"/>
                <a:gd name="T34" fmla="*/ 548 w 550"/>
                <a:gd name="T35" fmla="*/ 516 h 547"/>
                <a:gd name="T36" fmla="*/ 545 w 550"/>
                <a:gd name="T37" fmla="*/ 490 h 547"/>
                <a:gd name="T38" fmla="*/ 421 w 550"/>
                <a:gd name="T39" fmla="*/ 279 h 547"/>
                <a:gd name="T40" fmla="*/ 321 w 550"/>
                <a:gd name="T41" fmla="*/ 279 h 547"/>
                <a:gd name="T42" fmla="*/ 321 w 550"/>
                <a:gd name="T43" fmla="*/ 0 h 547"/>
                <a:gd name="T44" fmla="*/ 233 w 550"/>
                <a:gd name="T45" fmla="*/ 0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0" h="547">
                  <a:moveTo>
                    <a:pt x="233" y="0"/>
                  </a:moveTo>
                  <a:lnTo>
                    <a:pt x="233" y="279"/>
                  </a:lnTo>
                  <a:lnTo>
                    <a:pt x="133" y="279"/>
                  </a:lnTo>
                  <a:lnTo>
                    <a:pt x="9" y="490"/>
                  </a:lnTo>
                  <a:cubicBezTo>
                    <a:pt x="0" y="506"/>
                    <a:pt x="5" y="527"/>
                    <a:pt x="22" y="537"/>
                  </a:cubicBezTo>
                  <a:cubicBezTo>
                    <a:pt x="27" y="540"/>
                    <a:pt x="33" y="541"/>
                    <a:pt x="39" y="541"/>
                  </a:cubicBezTo>
                  <a:cubicBezTo>
                    <a:pt x="51" y="541"/>
                    <a:pt x="63" y="535"/>
                    <a:pt x="69" y="524"/>
                  </a:cubicBezTo>
                  <a:lnTo>
                    <a:pt x="171" y="350"/>
                  </a:lnTo>
                  <a:lnTo>
                    <a:pt x="242" y="350"/>
                  </a:lnTo>
                  <a:lnTo>
                    <a:pt x="242" y="505"/>
                  </a:lnTo>
                  <a:cubicBezTo>
                    <a:pt x="242" y="521"/>
                    <a:pt x="251" y="535"/>
                    <a:pt x="266" y="540"/>
                  </a:cubicBezTo>
                  <a:cubicBezTo>
                    <a:pt x="289" y="547"/>
                    <a:pt x="311" y="530"/>
                    <a:pt x="311" y="507"/>
                  </a:cubicBezTo>
                  <a:lnTo>
                    <a:pt x="311" y="350"/>
                  </a:lnTo>
                  <a:lnTo>
                    <a:pt x="383" y="350"/>
                  </a:lnTo>
                  <a:lnTo>
                    <a:pt x="485" y="524"/>
                  </a:lnTo>
                  <a:cubicBezTo>
                    <a:pt x="491" y="535"/>
                    <a:pt x="503" y="541"/>
                    <a:pt x="515" y="541"/>
                  </a:cubicBezTo>
                  <a:cubicBezTo>
                    <a:pt x="521" y="541"/>
                    <a:pt x="527" y="540"/>
                    <a:pt x="532" y="537"/>
                  </a:cubicBezTo>
                  <a:cubicBezTo>
                    <a:pt x="540" y="532"/>
                    <a:pt x="546" y="525"/>
                    <a:pt x="548" y="516"/>
                  </a:cubicBezTo>
                  <a:cubicBezTo>
                    <a:pt x="550" y="507"/>
                    <a:pt x="549" y="498"/>
                    <a:pt x="545" y="490"/>
                  </a:cubicBezTo>
                  <a:lnTo>
                    <a:pt x="421" y="279"/>
                  </a:lnTo>
                  <a:lnTo>
                    <a:pt x="321" y="279"/>
                  </a:lnTo>
                  <a:lnTo>
                    <a:pt x="321" y="0"/>
                  </a:lnTo>
                  <a:lnTo>
                    <a:pt x="23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391">
              <a:extLst>
                <a:ext uri="{FF2B5EF4-FFF2-40B4-BE49-F238E27FC236}">
                  <a16:creationId xmlns:a16="http://schemas.microsoft.com/office/drawing/2014/main" id="{350737CF-C774-4924-B96E-92B370FBAC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89563" y="7859713"/>
              <a:ext cx="742950" cy="754063"/>
            </a:xfrm>
            <a:custGeom>
              <a:avLst/>
              <a:gdLst>
                <a:gd name="T0" fmla="*/ 932 w 974"/>
                <a:gd name="T1" fmla="*/ 46 h 989"/>
                <a:gd name="T2" fmla="*/ 932 w 974"/>
                <a:gd name="T3" fmla="*/ 943 h 989"/>
                <a:gd name="T4" fmla="*/ 928 w 974"/>
                <a:gd name="T5" fmla="*/ 948 h 989"/>
                <a:gd name="T6" fmla="*/ 46 w 974"/>
                <a:gd name="T7" fmla="*/ 948 h 989"/>
                <a:gd name="T8" fmla="*/ 41 w 974"/>
                <a:gd name="T9" fmla="*/ 943 h 989"/>
                <a:gd name="T10" fmla="*/ 41 w 974"/>
                <a:gd name="T11" fmla="*/ 46 h 989"/>
                <a:gd name="T12" fmla="*/ 46 w 974"/>
                <a:gd name="T13" fmla="*/ 42 h 989"/>
                <a:gd name="T14" fmla="*/ 928 w 974"/>
                <a:gd name="T15" fmla="*/ 42 h 989"/>
                <a:gd name="T16" fmla="*/ 932 w 974"/>
                <a:gd name="T17" fmla="*/ 46 h 989"/>
                <a:gd name="T18" fmla="*/ 0 w 974"/>
                <a:gd name="T19" fmla="*/ 46 h 989"/>
                <a:gd name="T20" fmla="*/ 0 w 974"/>
                <a:gd name="T21" fmla="*/ 943 h 989"/>
                <a:gd name="T22" fmla="*/ 46 w 974"/>
                <a:gd name="T23" fmla="*/ 989 h 989"/>
                <a:gd name="T24" fmla="*/ 928 w 974"/>
                <a:gd name="T25" fmla="*/ 989 h 989"/>
                <a:gd name="T26" fmla="*/ 974 w 974"/>
                <a:gd name="T27" fmla="*/ 943 h 989"/>
                <a:gd name="T28" fmla="*/ 974 w 974"/>
                <a:gd name="T29" fmla="*/ 46 h 989"/>
                <a:gd name="T30" fmla="*/ 928 w 974"/>
                <a:gd name="T31" fmla="*/ 0 h 989"/>
                <a:gd name="T32" fmla="*/ 46 w 974"/>
                <a:gd name="T33" fmla="*/ 0 h 989"/>
                <a:gd name="T34" fmla="*/ 0 w 974"/>
                <a:gd name="T35" fmla="*/ 46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74" h="989">
                  <a:moveTo>
                    <a:pt x="932" y="46"/>
                  </a:moveTo>
                  <a:lnTo>
                    <a:pt x="932" y="943"/>
                  </a:lnTo>
                  <a:cubicBezTo>
                    <a:pt x="932" y="946"/>
                    <a:pt x="930" y="948"/>
                    <a:pt x="928" y="948"/>
                  </a:cubicBezTo>
                  <a:lnTo>
                    <a:pt x="46" y="948"/>
                  </a:lnTo>
                  <a:cubicBezTo>
                    <a:pt x="43" y="948"/>
                    <a:pt x="41" y="946"/>
                    <a:pt x="41" y="943"/>
                  </a:cubicBezTo>
                  <a:lnTo>
                    <a:pt x="41" y="46"/>
                  </a:lnTo>
                  <a:cubicBezTo>
                    <a:pt x="41" y="44"/>
                    <a:pt x="43" y="42"/>
                    <a:pt x="46" y="42"/>
                  </a:cubicBezTo>
                  <a:lnTo>
                    <a:pt x="928" y="42"/>
                  </a:lnTo>
                  <a:cubicBezTo>
                    <a:pt x="930" y="42"/>
                    <a:pt x="932" y="44"/>
                    <a:pt x="932" y="46"/>
                  </a:cubicBezTo>
                  <a:close/>
                  <a:moveTo>
                    <a:pt x="0" y="46"/>
                  </a:moveTo>
                  <a:lnTo>
                    <a:pt x="0" y="943"/>
                  </a:lnTo>
                  <a:cubicBezTo>
                    <a:pt x="0" y="968"/>
                    <a:pt x="20" y="989"/>
                    <a:pt x="46" y="989"/>
                  </a:cubicBezTo>
                  <a:lnTo>
                    <a:pt x="928" y="989"/>
                  </a:lnTo>
                  <a:cubicBezTo>
                    <a:pt x="953" y="989"/>
                    <a:pt x="974" y="968"/>
                    <a:pt x="974" y="943"/>
                  </a:cubicBezTo>
                  <a:lnTo>
                    <a:pt x="974" y="46"/>
                  </a:lnTo>
                  <a:cubicBezTo>
                    <a:pt x="974" y="21"/>
                    <a:pt x="953" y="0"/>
                    <a:pt x="928" y="0"/>
                  </a:cubicBezTo>
                  <a:lnTo>
                    <a:pt x="46" y="0"/>
                  </a:lnTo>
                  <a:cubicBezTo>
                    <a:pt x="20" y="0"/>
                    <a:pt x="0" y="21"/>
                    <a:pt x="0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392">
              <a:extLst>
                <a:ext uri="{FF2B5EF4-FFF2-40B4-BE49-F238E27FC236}">
                  <a16:creationId xmlns:a16="http://schemas.microsoft.com/office/drawing/2014/main" id="{4E3FA7C2-E5A5-4A45-B89D-362276176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83125" y="8110538"/>
              <a:ext cx="677863" cy="947738"/>
            </a:xfrm>
            <a:custGeom>
              <a:avLst/>
              <a:gdLst>
                <a:gd name="T0" fmla="*/ 320 w 889"/>
                <a:gd name="T1" fmla="*/ 103 h 1245"/>
                <a:gd name="T2" fmla="*/ 313 w 889"/>
                <a:gd name="T3" fmla="*/ 79 h 1245"/>
                <a:gd name="T4" fmla="*/ 332 w 889"/>
                <a:gd name="T5" fmla="*/ 45 h 1245"/>
                <a:gd name="T6" fmla="*/ 355 w 889"/>
                <a:gd name="T7" fmla="*/ 38 h 1245"/>
                <a:gd name="T8" fmla="*/ 377 w 889"/>
                <a:gd name="T9" fmla="*/ 45 h 1245"/>
                <a:gd name="T10" fmla="*/ 396 w 889"/>
                <a:gd name="T11" fmla="*/ 79 h 1245"/>
                <a:gd name="T12" fmla="*/ 390 w 889"/>
                <a:gd name="T13" fmla="*/ 103 h 1245"/>
                <a:gd name="T14" fmla="*/ 371 w 889"/>
                <a:gd name="T15" fmla="*/ 140 h 1245"/>
                <a:gd name="T16" fmla="*/ 426 w 889"/>
                <a:gd name="T17" fmla="*/ 377 h 1245"/>
                <a:gd name="T18" fmla="*/ 355 w 889"/>
                <a:gd name="T19" fmla="*/ 458 h 1245"/>
                <a:gd name="T20" fmla="*/ 283 w 889"/>
                <a:gd name="T21" fmla="*/ 377 h 1245"/>
                <a:gd name="T22" fmla="*/ 338 w 889"/>
                <a:gd name="T23" fmla="*/ 140 h 1245"/>
                <a:gd name="T24" fmla="*/ 320 w 889"/>
                <a:gd name="T25" fmla="*/ 103 h 1245"/>
                <a:gd name="T26" fmla="*/ 24 w 889"/>
                <a:gd name="T27" fmla="*/ 582 h 1245"/>
                <a:gd name="T28" fmla="*/ 73 w 889"/>
                <a:gd name="T29" fmla="*/ 592 h 1245"/>
                <a:gd name="T30" fmla="*/ 116 w 889"/>
                <a:gd name="T31" fmla="*/ 558 h 1245"/>
                <a:gd name="T32" fmla="*/ 171 w 889"/>
                <a:gd name="T33" fmla="*/ 325 h 1245"/>
                <a:gd name="T34" fmla="*/ 171 w 889"/>
                <a:gd name="T35" fmla="*/ 1192 h 1245"/>
                <a:gd name="T36" fmla="*/ 205 w 889"/>
                <a:gd name="T37" fmla="*/ 1245 h 1245"/>
                <a:gd name="T38" fmla="*/ 267 w 889"/>
                <a:gd name="T39" fmla="*/ 1245 h 1245"/>
                <a:gd name="T40" fmla="*/ 302 w 889"/>
                <a:gd name="T41" fmla="*/ 1190 h 1245"/>
                <a:gd name="T42" fmla="*/ 355 w 889"/>
                <a:gd name="T43" fmla="*/ 721 h 1245"/>
                <a:gd name="T44" fmla="*/ 407 w 889"/>
                <a:gd name="T45" fmla="*/ 1190 h 1245"/>
                <a:gd name="T46" fmla="*/ 442 w 889"/>
                <a:gd name="T47" fmla="*/ 1245 h 1245"/>
                <a:gd name="T48" fmla="*/ 504 w 889"/>
                <a:gd name="T49" fmla="*/ 1245 h 1245"/>
                <a:gd name="T50" fmla="*/ 538 w 889"/>
                <a:gd name="T51" fmla="*/ 1192 h 1245"/>
                <a:gd name="T52" fmla="*/ 538 w 889"/>
                <a:gd name="T53" fmla="*/ 214 h 1245"/>
                <a:gd name="T54" fmla="*/ 583 w 889"/>
                <a:gd name="T55" fmla="*/ 309 h 1245"/>
                <a:gd name="T56" fmla="*/ 712 w 889"/>
                <a:gd name="T57" fmla="*/ 351 h 1245"/>
                <a:gd name="T58" fmla="*/ 865 w 889"/>
                <a:gd name="T59" fmla="*/ 207 h 1245"/>
                <a:gd name="T60" fmla="*/ 874 w 889"/>
                <a:gd name="T61" fmla="*/ 153 h 1245"/>
                <a:gd name="T62" fmla="*/ 840 w 889"/>
                <a:gd name="T63" fmla="*/ 115 h 1245"/>
                <a:gd name="T64" fmla="*/ 783 w 889"/>
                <a:gd name="T65" fmla="*/ 129 h 1245"/>
                <a:gd name="T66" fmla="*/ 689 w 889"/>
                <a:gd name="T67" fmla="*/ 207 h 1245"/>
                <a:gd name="T68" fmla="*/ 650 w 889"/>
                <a:gd name="T69" fmla="*/ 109 h 1245"/>
                <a:gd name="T70" fmla="*/ 501 w 889"/>
                <a:gd name="T71" fmla="*/ 0 h 1245"/>
                <a:gd name="T72" fmla="*/ 355 w 889"/>
                <a:gd name="T73" fmla="*/ 0 h 1245"/>
                <a:gd name="T74" fmla="*/ 208 w 889"/>
                <a:gd name="T75" fmla="*/ 0 h 1245"/>
                <a:gd name="T76" fmla="*/ 80 w 889"/>
                <a:gd name="T77" fmla="*/ 132 h 1245"/>
                <a:gd name="T78" fmla="*/ 7 w 889"/>
                <a:gd name="T79" fmla="*/ 525 h 1245"/>
                <a:gd name="T80" fmla="*/ 24 w 889"/>
                <a:gd name="T81" fmla="*/ 582 h 1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89" h="1245">
                  <a:moveTo>
                    <a:pt x="320" y="103"/>
                  </a:moveTo>
                  <a:cubicBezTo>
                    <a:pt x="312" y="96"/>
                    <a:pt x="307" y="89"/>
                    <a:pt x="313" y="79"/>
                  </a:cubicBezTo>
                  <a:cubicBezTo>
                    <a:pt x="318" y="70"/>
                    <a:pt x="325" y="58"/>
                    <a:pt x="332" y="45"/>
                  </a:cubicBezTo>
                  <a:cubicBezTo>
                    <a:pt x="336" y="40"/>
                    <a:pt x="344" y="38"/>
                    <a:pt x="355" y="38"/>
                  </a:cubicBezTo>
                  <a:cubicBezTo>
                    <a:pt x="365" y="38"/>
                    <a:pt x="373" y="40"/>
                    <a:pt x="377" y="45"/>
                  </a:cubicBezTo>
                  <a:cubicBezTo>
                    <a:pt x="385" y="58"/>
                    <a:pt x="391" y="70"/>
                    <a:pt x="396" y="79"/>
                  </a:cubicBezTo>
                  <a:cubicBezTo>
                    <a:pt x="402" y="89"/>
                    <a:pt x="398" y="96"/>
                    <a:pt x="390" y="103"/>
                  </a:cubicBezTo>
                  <a:cubicBezTo>
                    <a:pt x="374" y="116"/>
                    <a:pt x="368" y="123"/>
                    <a:pt x="371" y="140"/>
                  </a:cubicBezTo>
                  <a:cubicBezTo>
                    <a:pt x="377" y="173"/>
                    <a:pt x="421" y="351"/>
                    <a:pt x="426" y="377"/>
                  </a:cubicBezTo>
                  <a:cubicBezTo>
                    <a:pt x="415" y="399"/>
                    <a:pt x="366" y="458"/>
                    <a:pt x="355" y="458"/>
                  </a:cubicBezTo>
                  <a:cubicBezTo>
                    <a:pt x="343" y="458"/>
                    <a:pt x="295" y="399"/>
                    <a:pt x="283" y="377"/>
                  </a:cubicBezTo>
                  <a:cubicBezTo>
                    <a:pt x="288" y="351"/>
                    <a:pt x="332" y="173"/>
                    <a:pt x="338" y="140"/>
                  </a:cubicBezTo>
                  <a:cubicBezTo>
                    <a:pt x="342" y="123"/>
                    <a:pt x="335" y="116"/>
                    <a:pt x="320" y="103"/>
                  </a:cubicBezTo>
                  <a:close/>
                  <a:moveTo>
                    <a:pt x="24" y="582"/>
                  </a:moveTo>
                  <a:cubicBezTo>
                    <a:pt x="42" y="586"/>
                    <a:pt x="55" y="589"/>
                    <a:pt x="73" y="592"/>
                  </a:cubicBezTo>
                  <a:cubicBezTo>
                    <a:pt x="96" y="596"/>
                    <a:pt x="109" y="585"/>
                    <a:pt x="116" y="558"/>
                  </a:cubicBezTo>
                  <a:cubicBezTo>
                    <a:pt x="142" y="455"/>
                    <a:pt x="151" y="418"/>
                    <a:pt x="171" y="325"/>
                  </a:cubicBezTo>
                  <a:lnTo>
                    <a:pt x="171" y="1192"/>
                  </a:lnTo>
                  <a:cubicBezTo>
                    <a:pt x="171" y="1237"/>
                    <a:pt x="187" y="1245"/>
                    <a:pt x="205" y="1245"/>
                  </a:cubicBezTo>
                  <a:lnTo>
                    <a:pt x="267" y="1245"/>
                  </a:lnTo>
                  <a:cubicBezTo>
                    <a:pt x="284" y="1245"/>
                    <a:pt x="296" y="1230"/>
                    <a:pt x="302" y="1190"/>
                  </a:cubicBezTo>
                  <a:cubicBezTo>
                    <a:pt x="312" y="1123"/>
                    <a:pt x="331" y="966"/>
                    <a:pt x="355" y="721"/>
                  </a:cubicBezTo>
                  <a:cubicBezTo>
                    <a:pt x="378" y="966"/>
                    <a:pt x="397" y="1123"/>
                    <a:pt x="407" y="1190"/>
                  </a:cubicBezTo>
                  <a:cubicBezTo>
                    <a:pt x="413" y="1230"/>
                    <a:pt x="426" y="1245"/>
                    <a:pt x="442" y="1245"/>
                  </a:cubicBezTo>
                  <a:lnTo>
                    <a:pt x="504" y="1245"/>
                  </a:lnTo>
                  <a:cubicBezTo>
                    <a:pt x="522" y="1245"/>
                    <a:pt x="538" y="1237"/>
                    <a:pt x="538" y="1192"/>
                  </a:cubicBezTo>
                  <a:lnTo>
                    <a:pt x="538" y="214"/>
                  </a:lnTo>
                  <a:cubicBezTo>
                    <a:pt x="552" y="244"/>
                    <a:pt x="568" y="276"/>
                    <a:pt x="583" y="309"/>
                  </a:cubicBezTo>
                  <a:cubicBezTo>
                    <a:pt x="608" y="361"/>
                    <a:pt x="679" y="380"/>
                    <a:pt x="712" y="351"/>
                  </a:cubicBezTo>
                  <a:cubicBezTo>
                    <a:pt x="742" y="325"/>
                    <a:pt x="840" y="231"/>
                    <a:pt x="865" y="207"/>
                  </a:cubicBezTo>
                  <a:cubicBezTo>
                    <a:pt x="886" y="188"/>
                    <a:pt x="889" y="171"/>
                    <a:pt x="874" y="153"/>
                  </a:cubicBezTo>
                  <a:cubicBezTo>
                    <a:pt x="862" y="138"/>
                    <a:pt x="853" y="129"/>
                    <a:pt x="840" y="115"/>
                  </a:cubicBezTo>
                  <a:cubicBezTo>
                    <a:pt x="832" y="105"/>
                    <a:pt x="811" y="105"/>
                    <a:pt x="783" y="129"/>
                  </a:cubicBezTo>
                  <a:cubicBezTo>
                    <a:pt x="701" y="198"/>
                    <a:pt x="715" y="186"/>
                    <a:pt x="689" y="207"/>
                  </a:cubicBezTo>
                  <a:cubicBezTo>
                    <a:pt x="677" y="175"/>
                    <a:pt x="664" y="142"/>
                    <a:pt x="650" y="109"/>
                  </a:cubicBezTo>
                  <a:cubicBezTo>
                    <a:pt x="625" y="47"/>
                    <a:pt x="583" y="0"/>
                    <a:pt x="501" y="0"/>
                  </a:cubicBezTo>
                  <a:lnTo>
                    <a:pt x="355" y="0"/>
                  </a:lnTo>
                  <a:lnTo>
                    <a:pt x="208" y="0"/>
                  </a:lnTo>
                  <a:cubicBezTo>
                    <a:pt x="127" y="0"/>
                    <a:pt x="94" y="67"/>
                    <a:pt x="80" y="132"/>
                  </a:cubicBezTo>
                  <a:cubicBezTo>
                    <a:pt x="50" y="267"/>
                    <a:pt x="33" y="381"/>
                    <a:pt x="7" y="525"/>
                  </a:cubicBezTo>
                  <a:cubicBezTo>
                    <a:pt x="0" y="562"/>
                    <a:pt x="11" y="579"/>
                    <a:pt x="24" y="58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Oval 393">
              <a:extLst>
                <a:ext uri="{FF2B5EF4-FFF2-40B4-BE49-F238E27FC236}">
                  <a16:creationId xmlns:a16="http://schemas.microsoft.com/office/drawing/2014/main" id="{79809DBF-1FA5-4D6B-B06E-6A9CFB55DE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2988" y="7820025"/>
              <a:ext cx="201613" cy="249238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2" name="Handshak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A462561-88AD-4C1B-A750-41F0B677ECA3}"/>
              </a:ext>
            </a:extLst>
          </p:cNvPr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3801401" y="2301120"/>
            <a:ext cx="618243" cy="376822"/>
          </a:xfrm>
          <a:custGeom>
            <a:avLst/>
            <a:gdLst>
              <a:gd name="T0" fmla="*/ 962 w 1288"/>
              <a:gd name="T1" fmla="*/ 151 h 783"/>
              <a:gd name="T2" fmla="*/ 882 w 1288"/>
              <a:gd name="T3" fmla="*/ 163 h 783"/>
              <a:gd name="T4" fmla="*/ 679 w 1288"/>
              <a:gd name="T5" fmla="*/ 98 h 783"/>
              <a:gd name="T6" fmla="*/ 673 w 1288"/>
              <a:gd name="T7" fmla="*/ 95 h 783"/>
              <a:gd name="T8" fmla="*/ 535 w 1288"/>
              <a:gd name="T9" fmla="*/ 80 h 783"/>
              <a:gd name="T10" fmla="*/ 476 w 1288"/>
              <a:gd name="T11" fmla="*/ 101 h 783"/>
              <a:gd name="T12" fmla="*/ 129 w 1288"/>
              <a:gd name="T13" fmla="*/ 66 h 783"/>
              <a:gd name="T14" fmla="*/ 98 w 1288"/>
              <a:gd name="T15" fmla="*/ 58 h 783"/>
              <a:gd name="T16" fmla="*/ 42 w 1288"/>
              <a:gd name="T17" fmla="*/ 89 h 783"/>
              <a:gd name="T18" fmla="*/ 129 w 1288"/>
              <a:gd name="T19" fmla="*/ 465 h 783"/>
              <a:gd name="T20" fmla="*/ 280 w 1288"/>
              <a:gd name="T21" fmla="*/ 602 h 783"/>
              <a:gd name="T22" fmla="*/ 322 w 1288"/>
              <a:gd name="T23" fmla="*/ 604 h 783"/>
              <a:gd name="T24" fmla="*/ 353 w 1288"/>
              <a:gd name="T25" fmla="*/ 674 h 783"/>
              <a:gd name="T26" fmla="*/ 486 w 1288"/>
              <a:gd name="T27" fmla="*/ 705 h 783"/>
              <a:gd name="T28" fmla="*/ 585 w 1288"/>
              <a:gd name="T29" fmla="*/ 720 h 783"/>
              <a:gd name="T30" fmla="*/ 767 w 1288"/>
              <a:gd name="T31" fmla="*/ 749 h 783"/>
              <a:gd name="T32" fmla="*/ 816 w 1288"/>
              <a:gd name="T33" fmla="*/ 719 h 783"/>
              <a:gd name="T34" fmla="*/ 913 w 1288"/>
              <a:gd name="T35" fmla="*/ 648 h 783"/>
              <a:gd name="T36" fmla="*/ 1003 w 1288"/>
              <a:gd name="T37" fmla="*/ 572 h 783"/>
              <a:gd name="T38" fmla="*/ 1048 w 1288"/>
              <a:gd name="T39" fmla="*/ 444 h 783"/>
              <a:gd name="T40" fmla="*/ 740 w 1288"/>
              <a:gd name="T41" fmla="*/ 732 h 783"/>
              <a:gd name="T42" fmla="*/ 596 w 1288"/>
              <a:gd name="T43" fmla="*/ 690 h 783"/>
              <a:gd name="T44" fmla="*/ 728 w 1288"/>
              <a:gd name="T45" fmla="*/ 677 h 783"/>
              <a:gd name="T46" fmla="*/ 1003 w 1288"/>
              <a:gd name="T47" fmla="*/ 540 h 783"/>
              <a:gd name="T48" fmla="*/ 803 w 1288"/>
              <a:gd name="T49" fmla="*/ 423 h 783"/>
              <a:gd name="T50" fmla="*/ 729 w 1288"/>
              <a:gd name="T51" fmla="*/ 395 h 783"/>
              <a:gd name="T52" fmla="*/ 788 w 1288"/>
              <a:gd name="T53" fmla="*/ 450 h 783"/>
              <a:gd name="T54" fmla="*/ 913 w 1288"/>
              <a:gd name="T55" fmla="*/ 616 h 783"/>
              <a:gd name="T56" fmla="*/ 742 w 1288"/>
              <a:gd name="T57" fmla="*/ 517 h 783"/>
              <a:gd name="T58" fmla="*/ 670 w 1288"/>
              <a:gd name="T59" fmla="*/ 490 h 783"/>
              <a:gd name="T60" fmla="*/ 722 w 1288"/>
              <a:gd name="T61" fmla="*/ 541 h 783"/>
              <a:gd name="T62" fmla="*/ 816 w 1288"/>
              <a:gd name="T63" fmla="*/ 688 h 783"/>
              <a:gd name="T64" fmla="*/ 651 w 1288"/>
              <a:gd name="T65" fmla="*/ 592 h 783"/>
              <a:gd name="T66" fmla="*/ 611 w 1288"/>
              <a:gd name="T67" fmla="*/ 585 h 783"/>
              <a:gd name="T68" fmla="*/ 537 w 1288"/>
              <a:gd name="T69" fmla="*/ 576 h 783"/>
              <a:gd name="T70" fmla="*/ 444 w 1288"/>
              <a:gd name="T71" fmla="*/ 539 h 783"/>
              <a:gd name="T72" fmla="*/ 322 w 1288"/>
              <a:gd name="T73" fmla="*/ 481 h 783"/>
              <a:gd name="T74" fmla="*/ 222 w 1288"/>
              <a:gd name="T75" fmla="*/ 488 h 783"/>
              <a:gd name="T76" fmla="*/ 113 w 1288"/>
              <a:gd name="T77" fmla="*/ 92 h 783"/>
              <a:gd name="T78" fmla="*/ 375 w 1288"/>
              <a:gd name="T79" fmla="*/ 192 h 783"/>
              <a:gd name="T80" fmla="*/ 392 w 1288"/>
              <a:gd name="T81" fmla="*/ 257 h 783"/>
              <a:gd name="T82" fmla="*/ 502 w 1288"/>
              <a:gd name="T83" fmla="*/ 238 h 783"/>
              <a:gd name="T84" fmla="*/ 574 w 1288"/>
              <a:gd name="T85" fmla="*/ 209 h 783"/>
              <a:gd name="T86" fmla="*/ 671 w 1288"/>
              <a:gd name="T87" fmla="*/ 245 h 7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288" h="783">
                <a:moveTo>
                  <a:pt x="1120" y="72"/>
                </a:moveTo>
                <a:cubicBezTo>
                  <a:pt x="1058" y="106"/>
                  <a:pt x="988" y="144"/>
                  <a:pt x="962" y="151"/>
                </a:cubicBezTo>
                <a:lnTo>
                  <a:pt x="962" y="151"/>
                </a:lnTo>
                <a:lnTo>
                  <a:pt x="949" y="154"/>
                </a:lnTo>
                <a:cubicBezTo>
                  <a:pt x="949" y="155"/>
                  <a:pt x="917" y="162"/>
                  <a:pt x="888" y="162"/>
                </a:cubicBezTo>
                <a:cubicBezTo>
                  <a:pt x="886" y="163"/>
                  <a:pt x="884" y="163"/>
                  <a:pt x="882" y="163"/>
                </a:cubicBezTo>
                <a:cubicBezTo>
                  <a:pt x="849" y="163"/>
                  <a:pt x="806" y="157"/>
                  <a:pt x="798" y="153"/>
                </a:cubicBezTo>
                <a:cubicBezTo>
                  <a:pt x="785" y="147"/>
                  <a:pt x="778" y="144"/>
                  <a:pt x="768" y="139"/>
                </a:cubicBezTo>
                <a:cubicBezTo>
                  <a:pt x="719" y="116"/>
                  <a:pt x="679" y="98"/>
                  <a:pt x="679" y="98"/>
                </a:cubicBezTo>
                <a:cubicBezTo>
                  <a:pt x="677" y="97"/>
                  <a:pt x="675" y="96"/>
                  <a:pt x="674" y="96"/>
                </a:cubicBezTo>
                <a:lnTo>
                  <a:pt x="673" y="96"/>
                </a:lnTo>
                <a:cubicBezTo>
                  <a:pt x="673" y="96"/>
                  <a:pt x="673" y="95"/>
                  <a:pt x="673" y="95"/>
                </a:cubicBezTo>
                <a:lnTo>
                  <a:pt x="673" y="95"/>
                </a:lnTo>
                <a:cubicBezTo>
                  <a:pt x="666" y="93"/>
                  <a:pt x="659" y="91"/>
                  <a:pt x="653" y="91"/>
                </a:cubicBezTo>
                <a:lnTo>
                  <a:pt x="535" y="80"/>
                </a:lnTo>
                <a:cubicBezTo>
                  <a:pt x="518" y="79"/>
                  <a:pt x="501" y="83"/>
                  <a:pt x="487" y="93"/>
                </a:cubicBezTo>
                <a:cubicBezTo>
                  <a:pt x="486" y="93"/>
                  <a:pt x="486" y="93"/>
                  <a:pt x="485" y="94"/>
                </a:cubicBezTo>
                <a:cubicBezTo>
                  <a:pt x="482" y="96"/>
                  <a:pt x="479" y="98"/>
                  <a:pt x="476" y="101"/>
                </a:cubicBezTo>
                <a:cubicBezTo>
                  <a:pt x="464" y="112"/>
                  <a:pt x="448" y="126"/>
                  <a:pt x="432" y="140"/>
                </a:cubicBezTo>
                <a:cubicBezTo>
                  <a:pt x="394" y="147"/>
                  <a:pt x="358" y="161"/>
                  <a:pt x="323" y="174"/>
                </a:cubicBezTo>
                <a:cubicBezTo>
                  <a:pt x="290" y="157"/>
                  <a:pt x="198" y="107"/>
                  <a:pt x="129" y="66"/>
                </a:cubicBezTo>
                <a:lnTo>
                  <a:pt x="128" y="65"/>
                </a:lnTo>
                <a:lnTo>
                  <a:pt x="126" y="64"/>
                </a:lnTo>
                <a:cubicBezTo>
                  <a:pt x="117" y="60"/>
                  <a:pt x="107" y="58"/>
                  <a:pt x="98" y="58"/>
                </a:cubicBezTo>
                <a:lnTo>
                  <a:pt x="98" y="58"/>
                </a:lnTo>
                <a:lnTo>
                  <a:pt x="98" y="58"/>
                </a:lnTo>
                <a:cubicBezTo>
                  <a:pt x="83" y="58"/>
                  <a:pt x="61" y="63"/>
                  <a:pt x="42" y="89"/>
                </a:cubicBezTo>
                <a:cubicBezTo>
                  <a:pt x="16" y="126"/>
                  <a:pt x="7" y="188"/>
                  <a:pt x="4" y="235"/>
                </a:cubicBezTo>
                <a:cubicBezTo>
                  <a:pt x="0" y="280"/>
                  <a:pt x="2" y="337"/>
                  <a:pt x="11" y="366"/>
                </a:cubicBezTo>
                <a:cubicBezTo>
                  <a:pt x="26" y="407"/>
                  <a:pt x="76" y="435"/>
                  <a:pt x="129" y="465"/>
                </a:cubicBezTo>
                <a:cubicBezTo>
                  <a:pt x="156" y="480"/>
                  <a:pt x="184" y="496"/>
                  <a:pt x="199" y="510"/>
                </a:cubicBezTo>
                <a:cubicBezTo>
                  <a:pt x="213" y="526"/>
                  <a:pt x="229" y="540"/>
                  <a:pt x="247" y="553"/>
                </a:cubicBezTo>
                <a:cubicBezTo>
                  <a:pt x="246" y="574"/>
                  <a:pt x="259" y="594"/>
                  <a:pt x="280" y="602"/>
                </a:cubicBezTo>
                <a:cubicBezTo>
                  <a:pt x="292" y="606"/>
                  <a:pt x="305" y="605"/>
                  <a:pt x="316" y="600"/>
                </a:cubicBezTo>
                <a:cubicBezTo>
                  <a:pt x="316" y="600"/>
                  <a:pt x="316" y="601"/>
                  <a:pt x="316" y="601"/>
                </a:cubicBezTo>
                <a:lnTo>
                  <a:pt x="322" y="604"/>
                </a:lnTo>
                <a:lnTo>
                  <a:pt x="324" y="604"/>
                </a:lnTo>
                <a:lnTo>
                  <a:pt x="322" y="609"/>
                </a:lnTo>
                <a:cubicBezTo>
                  <a:pt x="313" y="636"/>
                  <a:pt x="327" y="665"/>
                  <a:pt x="353" y="674"/>
                </a:cubicBezTo>
                <a:cubicBezTo>
                  <a:pt x="371" y="680"/>
                  <a:pt x="390" y="675"/>
                  <a:pt x="403" y="663"/>
                </a:cubicBezTo>
                <a:cubicBezTo>
                  <a:pt x="401" y="686"/>
                  <a:pt x="414" y="707"/>
                  <a:pt x="436" y="715"/>
                </a:cubicBezTo>
                <a:cubicBezTo>
                  <a:pt x="454" y="721"/>
                  <a:pt x="473" y="717"/>
                  <a:pt x="486" y="705"/>
                </a:cubicBezTo>
                <a:cubicBezTo>
                  <a:pt x="484" y="727"/>
                  <a:pt x="497" y="749"/>
                  <a:pt x="520" y="757"/>
                </a:cubicBezTo>
                <a:cubicBezTo>
                  <a:pt x="546" y="766"/>
                  <a:pt x="574" y="751"/>
                  <a:pt x="583" y="725"/>
                </a:cubicBezTo>
                <a:lnTo>
                  <a:pt x="585" y="720"/>
                </a:lnTo>
                <a:lnTo>
                  <a:pt x="668" y="772"/>
                </a:lnTo>
                <a:cubicBezTo>
                  <a:pt x="680" y="779"/>
                  <a:pt x="693" y="783"/>
                  <a:pt x="706" y="783"/>
                </a:cubicBezTo>
                <a:cubicBezTo>
                  <a:pt x="731" y="783"/>
                  <a:pt x="754" y="770"/>
                  <a:pt x="767" y="749"/>
                </a:cubicBezTo>
                <a:cubicBezTo>
                  <a:pt x="775" y="736"/>
                  <a:pt x="778" y="722"/>
                  <a:pt x="778" y="708"/>
                </a:cubicBezTo>
                <a:lnTo>
                  <a:pt x="779" y="708"/>
                </a:lnTo>
                <a:cubicBezTo>
                  <a:pt x="790" y="716"/>
                  <a:pt x="803" y="719"/>
                  <a:pt x="816" y="719"/>
                </a:cubicBezTo>
                <a:cubicBezTo>
                  <a:pt x="841" y="719"/>
                  <a:pt x="864" y="707"/>
                  <a:pt x="877" y="686"/>
                </a:cubicBezTo>
                <a:cubicBezTo>
                  <a:pt x="885" y="672"/>
                  <a:pt x="889" y="657"/>
                  <a:pt x="888" y="643"/>
                </a:cubicBezTo>
                <a:cubicBezTo>
                  <a:pt x="896" y="646"/>
                  <a:pt x="904" y="648"/>
                  <a:pt x="913" y="648"/>
                </a:cubicBezTo>
                <a:cubicBezTo>
                  <a:pt x="938" y="648"/>
                  <a:pt x="961" y="635"/>
                  <a:pt x="974" y="614"/>
                </a:cubicBezTo>
                <a:cubicBezTo>
                  <a:pt x="983" y="600"/>
                  <a:pt x="986" y="584"/>
                  <a:pt x="984" y="569"/>
                </a:cubicBezTo>
                <a:cubicBezTo>
                  <a:pt x="990" y="571"/>
                  <a:pt x="997" y="572"/>
                  <a:pt x="1003" y="572"/>
                </a:cubicBezTo>
                <a:cubicBezTo>
                  <a:pt x="1028" y="572"/>
                  <a:pt x="1051" y="559"/>
                  <a:pt x="1064" y="538"/>
                </a:cubicBezTo>
                <a:cubicBezTo>
                  <a:pt x="1083" y="507"/>
                  <a:pt x="1076" y="467"/>
                  <a:pt x="1049" y="445"/>
                </a:cubicBezTo>
                <a:lnTo>
                  <a:pt x="1048" y="444"/>
                </a:lnTo>
                <a:cubicBezTo>
                  <a:pt x="1079" y="437"/>
                  <a:pt x="1179" y="408"/>
                  <a:pt x="1229" y="356"/>
                </a:cubicBezTo>
                <a:cubicBezTo>
                  <a:pt x="1288" y="294"/>
                  <a:pt x="1228" y="0"/>
                  <a:pt x="1120" y="72"/>
                </a:cubicBezTo>
                <a:close/>
                <a:moveTo>
                  <a:pt x="740" y="732"/>
                </a:moveTo>
                <a:cubicBezTo>
                  <a:pt x="733" y="745"/>
                  <a:pt x="720" y="751"/>
                  <a:pt x="706" y="751"/>
                </a:cubicBezTo>
                <a:cubicBezTo>
                  <a:pt x="699" y="751"/>
                  <a:pt x="691" y="749"/>
                  <a:pt x="685" y="745"/>
                </a:cubicBezTo>
                <a:lnTo>
                  <a:pt x="596" y="690"/>
                </a:lnTo>
                <a:lnTo>
                  <a:pt x="616" y="631"/>
                </a:lnTo>
                <a:cubicBezTo>
                  <a:pt x="618" y="624"/>
                  <a:pt x="619" y="616"/>
                  <a:pt x="618" y="608"/>
                </a:cubicBezTo>
                <a:lnTo>
                  <a:pt x="728" y="677"/>
                </a:lnTo>
                <a:cubicBezTo>
                  <a:pt x="746" y="689"/>
                  <a:pt x="752" y="713"/>
                  <a:pt x="740" y="732"/>
                </a:cubicBezTo>
                <a:close/>
                <a:moveTo>
                  <a:pt x="1037" y="521"/>
                </a:moveTo>
                <a:cubicBezTo>
                  <a:pt x="1030" y="534"/>
                  <a:pt x="1017" y="540"/>
                  <a:pt x="1003" y="540"/>
                </a:cubicBezTo>
                <a:cubicBezTo>
                  <a:pt x="996" y="540"/>
                  <a:pt x="988" y="538"/>
                  <a:pt x="982" y="534"/>
                </a:cubicBezTo>
                <a:lnTo>
                  <a:pt x="803" y="423"/>
                </a:lnTo>
                <a:lnTo>
                  <a:pt x="803" y="423"/>
                </a:lnTo>
                <a:lnTo>
                  <a:pt x="751" y="390"/>
                </a:lnTo>
                <a:cubicBezTo>
                  <a:pt x="748" y="388"/>
                  <a:pt x="745" y="388"/>
                  <a:pt x="743" y="388"/>
                </a:cubicBezTo>
                <a:cubicBezTo>
                  <a:pt x="737" y="388"/>
                  <a:pt x="732" y="390"/>
                  <a:pt x="729" y="395"/>
                </a:cubicBezTo>
                <a:cubicBezTo>
                  <a:pt x="725" y="402"/>
                  <a:pt x="727" y="412"/>
                  <a:pt x="734" y="416"/>
                </a:cubicBezTo>
                <a:lnTo>
                  <a:pt x="788" y="450"/>
                </a:lnTo>
                <a:cubicBezTo>
                  <a:pt x="788" y="450"/>
                  <a:pt x="788" y="450"/>
                  <a:pt x="788" y="450"/>
                </a:cubicBezTo>
                <a:lnTo>
                  <a:pt x="935" y="542"/>
                </a:lnTo>
                <a:cubicBezTo>
                  <a:pt x="954" y="554"/>
                  <a:pt x="959" y="578"/>
                  <a:pt x="947" y="597"/>
                </a:cubicBezTo>
                <a:cubicBezTo>
                  <a:pt x="940" y="610"/>
                  <a:pt x="927" y="616"/>
                  <a:pt x="913" y="616"/>
                </a:cubicBezTo>
                <a:cubicBezTo>
                  <a:pt x="906" y="616"/>
                  <a:pt x="898" y="614"/>
                  <a:pt x="892" y="610"/>
                </a:cubicBezTo>
                <a:lnTo>
                  <a:pt x="742" y="517"/>
                </a:lnTo>
                <a:cubicBezTo>
                  <a:pt x="742" y="517"/>
                  <a:pt x="742" y="517"/>
                  <a:pt x="742" y="517"/>
                </a:cubicBezTo>
                <a:lnTo>
                  <a:pt x="691" y="485"/>
                </a:lnTo>
                <a:cubicBezTo>
                  <a:pt x="689" y="484"/>
                  <a:pt x="686" y="483"/>
                  <a:pt x="683" y="483"/>
                </a:cubicBezTo>
                <a:cubicBezTo>
                  <a:pt x="678" y="483"/>
                  <a:pt x="673" y="485"/>
                  <a:pt x="670" y="490"/>
                </a:cubicBezTo>
                <a:cubicBezTo>
                  <a:pt x="665" y="497"/>
                  <a:pt x="668" y="507"/>
                  <a:pt x="675" y="512"/>
                </a:cubicBezTo>
                <a:lnTo>
                  <a:pt x="722" y="541"/>
                </a:lnTo>
                <a:cubicBezTo>
                  <a:pt x="722" y="541"/>
                  <a:pt x="722" y="541"/>
                  <a:pt x="722" y="541"/>
                </a:cubicBezTo>
                <a:lnTo>
                  <a:pt x="838" y="613"/>
                </a:lnTo>
                <a:cubicBezTo>
                  <a:pt x="857" y="625"/>
                  <a:pt x="863" y="650"/>
                  <a:pt x="851" y="669"/>
                </a:cubicBezTo>
                <a:cubicBezTo>
                  <a:pt x="843" y="681"/>
                  <a:pt x="830" y="688"/>
                  <a:pt x="816" y="688"/>
                </a:cubicBezTo>
                <a:cubicBezTo>
                  <a:pt x="809" y="688"/>
                  <a:pt x="802" y="686"/>
                  <a:pt x="795" y="682"/>
                </a:cubicBezTo>
                <a:lnTo>
                  <a:pt x="651" y="592"/>
                </a:lnTo>
                <a:cubicBezTo>
                  <a:pt x="651" y="592"/>
                  <a:pt x="651" y="592"/>
                  <a:pt x="651" y="592"/>
                </a:cubicBezTo>
                <a:lnTo>
                  <a:pt x="632" y="580"/>
                </a:lnTo>
                <a:cubicBezTo>
                  <a:pt x="629" y="579"/>
                  <a:pt x="627" y="578"/>
                  <a:pt x="624" y="578"/>
                </a:cubicBezTo>
                <a:cubicBezTo>
                  <a:pt x="619" y="578"/>
                  <a:pt x="613" y="580"/>
                  <a:pt x="611" y="585"/>
                </a:cubicBezTo>
                <a:cubicBezTo>
                  <a:pt x="610" y="586"/>
                  <a:pt x="610" y="586"/>
                  <a:pt x="610" y="587"/>
                </a:cubicBezTo>
                <a:cubicBezTo>
                  <a:pt x="604" y="578"/>
                  <a:pt x="595" y="571"/>
                  <a:pt x="585" y="567"/>
                </a:cubicBezTo>
                <a:cubicBezTo>
                  <a:pt x="568" y="561"/>
                  <a:pt x="550" y="565"/>
                  <a:pt x="537" y="576"/>
                </a:cubicBezTo>
                <a:lnTo>
                  <a:pt x="538" y="575"/>
                </a:lnTo>
                <a:cubicBezTo>
                  <a:pt x="547" y="548"/>
                  <a:pt x="533" y="520"/>
                  <a:pt x="507" y="511"/>
                </a:cubicBezTo>
                <a:cubicBezTo>
                  <a:pt x="482" y="502"/>
                  <a:pt x="454" y="515"/>
                  <a:pt x="444" y="539"/>
                </a:cubicBezTo>
                <a:cubicBezTo>
                  <a:pt x="440" y="523"/>
                  <a:pt x="429" y="509"/>
                  <a:pt x="412" y="503"/>
                </a:cubicBezTo>
                <a:cubicBezTo>
                  <a:pt x="391" y="496"/>
                  <a:pt x="368" y="504"/>
                  <a:pt x="355" y="521"/>
                </a:cubicBezTo>
                <a:cubicBezTo>
                  <a:pt x="353" y="503"/>
                  <a:pt x="340" y="487"/>
                  <a:pt x="322" y="481"/>
                </a:cubicBezTo>
                <a:cubicBezTo>
                  <a:pt x="296" y="472"/>
                  <a:pt x="267" y="486"/>
                  <a:pt x="258" y="512"/>
                </a:cubicBezTo>
                <a:lnTo>
                  <a:pt x="255" y="520"/>
                </a:lnTo>
                <a:cubicBezTo>
                  <a:pt x="243" y="510"/>
                  <a:pt x="232" y="500"/>
                  <a:pt x="222" y="488"/>
                </a:cubicBezTo>
                <a:cubicBezTo>
                  <a:pt x="177" y="445"/>
                  <a:pt x="58" y="406"/>
                  <a:pt x="41" y="355"/>
                </a:cubicBezTo>
                <a:cubicBezTo>
                  <a:pt x="24" y="308"/>
                  <a:pt x="30" y="89"/>
                  <a:pt x="98" y="89"/>
                </a:cubicBezTo>
                <a:cubicBezTo>
                  <a:pt x="103" y="89"/>
                  <a:pt x="108" y="90"/>
                  <a:pt x="113" y="92"/>
                </a:cubicBezTo>
                <a:cubicBezTo>
                  <a:pt x="198" y="143"/>
                  <a:pt x="321" y="208"/>
                  <a:pt x="321" y="208"/>
                </a:cubicBezTo>
                <a:cubicBezTo>
                  <a:pt x="341" y="200"/>
                  <a:pt x="362" y="192"/>
                  <a:pt x="382" y="185"/>
                </a:cubicBezTo>
                <a:cubicBezTo>
                  <a:pt x="380" y="188"/>
                  <a:pt x="377" y="190"/>
                  <a:pt x="375" y="192"/>
                </a:cubicBezTo>
                <a:cubicBezTo>
                  <a:pt x="365" y="201"/>
                  <a:pt x="360" y="213"/>
                  <a:pt x="362" y="226"/>
                </a:cubicBezTo>
                <a:cubicBezTo>
                  <a:pt x="364" y="237"/>
                  <a:pt x="371" y="248"/>
                  <a:pt x="379" y="252"/>
                </a:cubicBezTo>
                <a:cubicBezTo>
                  <a:pt x="382" y="253"/>
                  <a:pt x="387" y="255"/>
                  <a:pt x="392" y="257"/>
                </a:cubicBezTo>
                <a:cubicBezTo>
                  <a:pt x="394" y="258"/>
                  <a:pt x="396" y="258"/>
                  <a:pt x="398" y="259"/>
                </a:cubicBezTo>
                <a:cubicBezTo>
                  <a:pt x="408" y="261"/>
                  <a:pt x="417" y="263"/>
                  <a:pt x="427" y="263"/>
                </a:cubicBezTo>
                <a:cubicBezTo>
                  <a:pt x="453" y="263"/>
                  <a:pt x="478" y="254"/>
                  <a:pt x="502" y="238"/>
                </a:cubicBezTo>
                <a:cubicBezTo>
                  <a:pt x="505" y="236"/>
                  <a:pt x="525" y="222"/>
                  <a:pt x="531" y="217"/>
                </a:cubicBezTo>
                <a:cubicBezTo>
                  <a:pt x="536" y="214"/>
                  <a:pt x="546" y="208"/>
                  <a:pt x="566" y="208"/>
                </a:cubicBezTo>
                <a:cubicBezTo>
                  <a:pt x="568" y="208"/>
                  <a:pt x="571" y="208"/>
                  <a:pt x="574" y="209"/>
                </a:cubicBezTo>
                <a:cubicBezTo>
                  <a:pt x="586" y="209"/>
                  <a:pt x="604" y="213"/>
                  <a:pt x="617" y="216"/>
                </a:cubicBezTo>
                <a:cubicBezTo>
                  <a:pt x="629" y="224"/>
                  <a:pt x="641" y="231"/>
                  <a:pt x="653" y="239"/>
                </a:cubicBezTo>
                <a:cubicBezTo>
                  <a:pt x="659" y="239"/>
                  <a:pt x="666" y="241"/>
                  <a:pt x="671" y="245"/>
                </a:cubicBezTo>
                <a:lnTo>
                  <a:pt x="1025" y="466"/>
                </a:lnTo>
                <a:cubicBezTo>
                  <a:pt x="1044" y="478"/>
                  <a:pt x="1049" y="502"/>
                  <a:pt x="1037" y="521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53" name="Handshake10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2D55DFC6-6785-4942-BA0E-F3380E6F5AEB}"/>
              </a:ext>
            </a:extLst>
          </p:cNvPr>
          <p:cNvGrpSpPr>
            <a:grpSpLocks noChangeAspect="1"/>
          </p:cNvGrpSpPr>
          <p:nvPr>
            <p:custDataLst>
              <p:tags r:id="rId7"/>
            </p:custDataLst>
          </p:nvPr>
        </p:nvGrpSpPr>
        <p:grpSpPr>
          <a:xfrm>
            <a:off x="984463" y="2744480"/>
            <a:ext cx="622570" cy="396320"/>
            <a:chOff x="250825" y="3436938"/>
            <a:chExt cx="1935163" cy="1231900"/>
          </a:xfrm>
          <a:solidFill>
            <a:schemeClr val="accent1"/>
          </a:solidFill>
        </p:grpSpPr>
        <p:sp>
          <p:nvSpPr>
            <p:cNvPr id="254" name="Freeform 347">
              <a:extLst>
                <a:ext uri="{FF2B5EF4-FFF2-40B4-BE49-F238E27FC236}">
                  <a16:creationId xmlns:a16="http://schemas.microsoft.com/office/drawing/2014/main" id="{E6F840FE-52EC-4567-93D0-1D0F1DBE2CA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57363" y="4113213"/>
              <a:ext cx="428625" cy="374650"/>
            </a:xfrm>
            <a:custGeom>
              <a:avLst/>
              <a:gdLst>
                <a:gd name="T0" fmla="*/ 175 w 563"/>
                <a:gd name="T1" fmla="*/ 109 h 491"/>
                <a:gd name="T2" fmla="*/ 225 w 563"/>
                <a:gd name="T3" fmla="*/ 56 h 491"/>
                <a:gd name="T4" fmla="*/ 296 w 563"/>
                <a:gd name="T5" fmla="*/ 72 h 491"/>
                <a:gd name="T6" fmla="*/ 175 w 563"/>
                <a:gd name="T7" fmla="*/ 109 h 491"/>
                <a:gd name="T8" fmla="*/ 555 w 563"/>
                <a:gd name="T9" fmla="*/ 310 h 491"/>
                <a:gd name="T10" fmla="*/ 492 w 563"/>
                <a:gd name="T11" fmla="*/ 100 h 491"/>
                <a:gd name="T12" fmla="*/ 500 w 563"/>
                <a:gd name="T13" fmla="*/ 91 h 491"/>
                <a:gd name="T14" fmla="*/ 492 w 563"/>
                <a:gd name="T15" fmla="*/ 64 h 491"/>
                <a:gd name="T16" fmla="*/ 431 w 563"/>
                <a:gd name="T17" fmla="*/ 31 h 491"/>
                <a:gd name="T18" fmla="*/ 341 w 563"/>
                <a:gd name="T19" fmla="*/ 58 h 491"/>
                <a:gd name="T20" fmla="*/ 328 w 563"/>
                <a:gd name="T21" fmla="*/ 50 h 491"/>
                <a:gd name="T22" fmla="*/ 214 w 563"/>
                <a:gd name="T23" fmla="*/ 19 h 491"/>
                <a:gd name="T24" fmla="*/ 135 w 563"/>
                <a:gd name="T25" fmla="*/ 108 h 491"/>
                <a:gd name="T26" fmla="*/ 129 w 563"/>
                <a:gd name="T27" fmla="*/ 123 h 491"/>
                <a:gd name="T28" fmla="*/ 40 w 563"/>
                <a:gd name="T29" fmla="*/ 150 h 491"/>
                <a:gd name="T30" fmla="*/ 7 w 563"/>
                <a:gd name="T31" fmla="*/ 212 h 491"/>
                <a:gd name="T32" fmla="*/ 15 w 563"/>
                <a:gd name="T33" fmla="*/ 238 h 491"/>
                <a:gd name="T34" fmla="*/ 28 w 563"/>
                <a:gd name="T35" fmla="*/ 242 h 491"/>
                <a:gd name="T36" fmla="*/ 92 w 563"/>
                <a:gd name="T37" fmla="*/ 451 h 491"/>
                <a:gd name="T38" fmla="*/ 152 w 563"/>
                <a:gd name="T39" fmla="*/ 483 h 491"/>
                <a:gd name="T40" fmla="*/ 523 w 563"/>
                <a:gd name="T41" fmla="*/ 370 h 491"/>
                <a:gd name="T42" fmla="*/ 555 w 563"/>
                <a:gd name="T43" fmla="*/ 310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63" h="491">
                  <a:moveTo>
                    <a:pt x="175" y="109"/>
                  </a:moveTo>
                  <a:cubicBezTo>
                    <a:pt x="180" y="88"/>
                    <a:pt x="188" y="67"/>
                    <a:pt x="225" y="56"/>
                  </a:cubicBezTo>
                  <a:cubicBezTo>
                    <a:pt x="262" y="45"/>
                    <a:pt x="280" y="58"/>
                    <a:pt x="296" y="72"/>
                  </a:cubicBezTo>
                  <a:cubicBezTo>
                    <a:pt x="257" y="84"/>
                    <a:pt x="214" y="97"/>
                    <a:pt x="175" y="109"/>
                  </a:cubicBezTo>
                  <a:close/>
                  <a:moveTo>
                    <a:pt x="555" y="310"/>
                  </a:moveTo>
                  <a:cubicBezTo>
                    <a:pt x="544" y="272"/>
                    <a:pt x="513" y="170"/>
                    <a:pt x="492" y="100"/>
                  </a:cubicBezTo>
                  <a:lnTo>
                    <a:pt x="500" y="91"/>
                  </a:lnTo>
                  <a:cubicBezTo>
                    <a:pt x="500" y="91"/>
                    <a:pt x="495" y="75"/>
                    <a:pt x="492" y="64"/>
                  </a:cubicBezTo>
                  <a:cubicBezTo>
                    <a:pt x="485" y="41"/>
                    <a:pt x="461" y="22"/>
                    <a:pt x="431" y="31"/>
                  </a:cubicBezTo>
                  <a:cubicBezTo>
                    <a:pt x="418" y="35"/>
                    <a:pt x="374" y="49"/>
                    <a:pt x="341" y="58"/>
                  </a:cubicBezTo>
                  <a:cubicBezTo>
                    <a:pt x="337" y="60"/>
                    <a:pt x="331" y="53"/>
                    <a:pt x="328" y="50"/>
                  </a:cubicBezTo>
                  <a:cubicBezTo>
                    <a:pt x="310" y="32"/>
                    <a:pt x="276" y="0"/>
                    <a:pt x="214" y="19"/>
                  </a:cubicBezTo>
                  <a:cubicBezTo>
                    <a:pt x="151" y="38"/>
                    <a:pt x="141" y="84"/>
                    <a:pt x="135" y="108"/>
                  </a:cubicBezTo>
                  <a:cubicBezTo>
                    <a:pt x="134" y="113"/>
                    <a:pt x="133" y="122"/>
                    <a:pt x="129" y="123"/>
                  </a:cubicBezTo>
                  <a:cubicBezTo>
                    <a:pt x="90" y="135"/>
                    <a:pt x="53" y="146"/>
                    <a:pt x="40" y="150"/>
                  </a:cubicBezTo>
                  <a:cubicBezTo>
                    <a:pt x="10" y="159"/>
                    <a:pt x="0" y="189"/>
                    <a:pt x="7" y="212"/>
                  </a:cubicBezTo>
                  <a:cubicBezTo>
                    <a:pt x="10" y="222"/>
                    <a:pt x="15" y="238"/>
                    <a:pt x="15" y="238"/>
                  </a:cubicBezTo>
                  <a:lnTo>
                    <a:pt x="28" y="242"/>
                  </a:lnTo>
                  <a:cubicBezTo>
                    <a:pt x="48" y="309"/>
                    <a:pt x="79" y="410"/>
                    <a:pt x="92" y="451"/>
                  </a:cubicBezTo>
                  <a:cubicBezTo>
                    <a:pt x="99" y="477"/>
                    <a:pt x="126" y="491"/>
                    <a:pt x="152" y="483"/>
                  </a:cubicBezTo>
                  <a:cubicBezTo>
                    <a:pt x="238" y="457"/>
                    <a:pt x="437" y="397"/>
                    <a:pt x="523" y="370"/>
                  </a:cubicBezTo>
                  <a:cubicBezTo>
                    <a:pt x="549" y="363"/>
                    <a:pt x="563" y="336"/>
                    <a:pt x="555" y="31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 348">
              <a:extLst>
                <a:ext uri="{FF2B5EF4-FFF2-40B4-BE49-F238E27FC236}">
                  <a16:creationId xmlns:a16="http://schemas.microsoft.com/office/drawing/2014/main" id="{F5582859-897E-4AA6-A53B-DA9DEA2AA4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4938" y="3436938"/>
              <a:ext cx="234950" cy="274638"/>
            </a:xfrm>
            <a:custGeom>
              <a:avLst/>
              <a:gdLst>
                <a:gd name="T0" fmla="*/ 194 w 308"/>
                <a:gd name="T1" fmla="*/ 342 h 360"/>
                <a:gd name="T2" fmla="*/ 286 w 308"/>
                <a:gd name="T3" fmla="*/ 148 h 360"/>
                <a:gd name="T4" fmla="*/ 114 w 308"/>
                <a:gd name="T5" fmla="*/ 18 h 360"/>
                <a:gd name="T6" fmla="*/ 23 w 308"/>
                <a:gd name="T7" fmla="*/ 213 h 360"/>
                <a:gd name="T8" fmla="*/ 194 w 308"/>
                <a:gd name="T9" fmla="*/ 342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360">
                  <a:moveTo>
                    <a:pt x="194" y="342"/>
                  </a:moveTo>
                  <a:cubicBezTo>
                    <a:pt x="267" y="324"/>
                    <a:pt x="308" y="237"/>
                    <a:pt x="286" y="148"/>
                  </a:cubicBezTo>
                  <a:cubicBezTo>
                    <a:pt x="264" y="58"/>
                    <a:pt x="187" y="0"/>
                    <a:pt x="114" y="18"/>
                  </a:cubicBezTo>
                  <a:cubicBezTo>
                    <a:pt x="41" y="36"/>
                    <a:pt x="0" y="123"/>
                    <a:pt x="23" y="213"/>
                  </a:cubicBezTo>
                  <a:cubicBezTo>
                    <a:pt x="45" y="302"/>
                    <a:pt x="121" y="360"/>
                    <a:pt x="194" y="3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 349">
              <a:extLst>
                <a:ext uri="{FF2B5EF4-FFF2-40B4-BE49-F238E27FC236}">
                  <a16:creationId xmlns:a16="http://schemas.microsoft.com/office/drawing/2014/main" id="{7AFC9586-4E98-40B2-B897-A909B07DFC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900" y="3695700"/>
              <a:ext cx="715963" cy="973138"/>
            </a:xfrm>
            <a:custGeom>
              <a:avLst/>
              <a:gdLst>
                <a:gd name="T0" fmla="*/ 581 w 939"/>
                <a:gd name="T1" fmla="*/ 20 h 1277"/>
                <a:gd name="T2" fmla="*/ 435 w 939"/>
                <a:gd name="T3" fmla="*/ 56 h 1277"/>
                <a:gd name="T4" fmla="*/ 290 w 939"/>
                <a:gd name="T5" fmla="*/ 92 h 1277"/>
                <a:gd name="T6" fmla="*/ 169 w 939"/>
                <a:gd name="T7" fmla="*/ 236 h 1277"/>
                <a:gd name="T8" fmla="*/ 153 w 939"/>
                <a:gd name="T9" fmla="*/ 365 h 1277"/>
                <a:gd name="T10" fmla="*/ 39 w 939"/>
                <a:gd name="T11" fmla="*/ 430 h 1277"/>
                <a:gd name="T12" fmla="*/ 4 w 939"/>
                <a:gd name="T13" fmla="*/ 478 h 1277"/>
                <a:gd name="T14" fmla="*/ 21 w 939"/>
                <a:gd name="T15" fmla="*/ 527 h 1277"/>
                <a:gd name="T16" fmla="*/ 73 w 939"/>
                <a:gd name="T17" fmla="*/ 548 h 1277"/>
                <a:gd name="T18" fmla="*/ 231 w 939"/>
                <a:gd name="T19" fmla="*/ 500 h 1277"/>
                <a:gd name="T20" fmla="*/ 284 w 939"/>
                <a:gd name="T21" fmla="*/ 419 h 1277"/>
                <a:gd name="T22" fmla="*/ 306 w 939"/>
                <a:gd name="T23" fmla="*/ 313 h 1277"/>
                <a:gd name="T24" fmla="*/ 295 w 939"/>
                <a:gd name="T25" fmla="*/ 1223 h 1277"/>
                <a:gd name="T26" fmla="*/ 330 w 939"/>
                <a:gd name="T27" fmla="*/ 1277 h 1277"/>
                <a:gd name="T28" fmla="*/ 393 w 939"/>
                <a:gd name="T29" fmla="*/ 1277 h 1277"/>
                <a:gd name="T30" fmla="*/ 429 w 939"/>
                <a:gd name="T31" fmla="*/ 1220 h 1277"/>
                <a:gd name="T32" fmla="*/ 482 w 939"/>
                <a:gd name="T33" fmla="*/ 742 h 1277"/>
                <a:gd name="T34" fmla="*/ 535 w 939"/>
                <a:gd name="T35" fmla="*/ 1220 h 1277"/>
                <a:gd name="T36" fmla="*/ 572 w 939"/>
                <a:gd name="T37" fmla="*/ 1277 h 1277"/>
                <a:gd name="T38" fmla="*/ 635 w 939"/>
                <a:gd name="T39" fmla="*/ 1277 h 1277"/>
                <a:gd name="T40" fmla="*/ 669 w 939"/>
                <a:gd name="T41" fmla="*/ 1223 h 1277"/>
                <a:gd name="T42" fmla="*/ 669 w 939"/>
                <a:gd name="T43" fmla="*/ 223 h 1277"/>
                <a:gd name="T44" fmla="*/ 749 w 939"/>
                <a:gd name="T45" fmla="*/ 331 h 1277"/>
                <a:gd name="T46" fmla="*/ 821 w 939"/>
                <a:gd name="T47" fmla="*/ 507 h 1277"/>
                <a:gd name="T48" fmla="*/ 868 w 939"/>
                <a:gd name="T49" fmla="*/ 538 h 1277"/>
                <a:gd name="T50" fmla="*/ 917 w 939"/>
                <a:gd name="T51" fmla="*/ 523 h 1277"/>
                <a:gd name="T52" fmla="*/ 928 w 939"/>
                <a:gd name="T53" fmla="*/ 463 h 1277"/>
                <a:gd name="T54" fmla="*/ 882 w 939"/>
                <a:gd name="T55" fmla="*/ 298 h 1277"/>
                <a:gd name="T56" fmla="*/ 846 w 939"/>
                <a:gd name="T57" fmla="*/ 222 h 1277"/>
                <a:gd name="T58" fmla="*/ 755 w 939"/>
                <a:gd name="T59" fmla="*/ 91 h 1277"/>
                <a:gd name="T60" fmla="*/ 581 w 939"/>
                <a:gd name="T61" fmla="*/ 20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9" h="1277">
                  <a:moveTo>
                    <a:pt x="581" y="20"/>
                  </a:moveTo>
                  <a:cubicBezTo>
                    <a:pt x="556" y="26"/>
                    <a:pt x="498" y="40"/>
                    <a:pt x="435" y="56"/>
                  </a:cubicBezTo>
                  <a:cubicBezTo>
                    <a:pt x="372" y="71"/>
                    <a:pt x="314" y="86"/>
                    <a:pt x="290" y="92"/>
                  </a:cubicBezTo>
                  <a:cubicBezTo>
                    <a:pt x="209" y="112"/>
                    <a:pt x="178" y="168"/>
                    <a:pt x="169" y="236"/>
                  </a:cubicBezTo>
                  <a:cubicBezTo>
                    <a:pt x="163" y="273"/>
                    <a:pt x="157" y="330"/>
                    <a:pt x="153" y="365"/>
                  </a:cubicBezTo>
                  <a:cubicBezTo>
                    <a:pt x="110" y="392"/>
                    <a:pt x="72" y="411"/>
                    <a:pt x="39" y="430"/>
                  </a:cubicBezTo>
                  <a:cubicBezTo>
                    <a:pt x="6" y="449"/>
                    <a:pt x="0" y="466"/>
                    <a:pt x="4" y="478"/>
                  </a:cubicBezTo>
                  <a:cubicBezTo>
                    <a:pt x="10" y="496"/>
                    <a:pt x="14" y="509"/>
                    <a:pt x="21" y="527"/>
                  </a:cubicBezTo>
                  <a:cubicBezTo>
                    <a:pt x="29" y="550"/>
                    <a:pt x="45" y="555"/>
                    <a:pt x="73" y="548"/>
                  </a:cubicBezTo>
                  <a:cubicBezTo>
                    <a:pt x="107" y="538"/>
                    <a:pt x="193" y="513"/>
                    <a:pt x="231" y="500"/>
                  </a:cubicBezTo>
                  <a:cubicBezTo>
                    <a:pt x="274" y="486"/>
                    <a:pt x="278" y="450"/>
                    <a:pt x="284" y="419"/>
                  </a:cubicBezTo>
                  <a:cubicBezTo>
                    <a:pt x="292" y="382"/>
                    <a:pt x="299" y="347"/>
                    <a:pt x="306" y="313"/>
                  </a:cubicBezTo>
                  <a:cubicBezTo>
                    <a:pt x="330" y="410"/>
                    <a:pt x="295" y="1124"/>
                    <a:pt x="295" y="1223"/>
                  </a:cubicBezTo>
                  <a:cubicBezTo>
                    <a:pt x="295" y="1269"/>
                    <a:pt x="311" y="1277"/>
                    <a:pt x="330" y="1277"/>
                  </a:cubicBezTo>
                  <a:lnTo>
                    <a:pt x="393" y="1277"/>
                  </a:lnTo>
                  <a:cubicBezTo>
                    <a:pt x="410" y="1277"/>
                    <a:pt x="423" y="1262"/>
                    <a:pt x="429" y="1220"/>
                  </a:cubicBezTo>
                  <a:cubicBezTo>
                    <a:pt x="439" y="1152"/>
                    <a:pt x="458" y="992"/>
                    <a:pt x="482" y="742"/>
                  </a:cubicBezTo>
                  <a:cubicBezTo>
                    <a:pt x="506" y="992"/>
                    <a:pt x="525" y="1152"/>
                    <a:pt x="535" y="1220"/>
                  </a:cubicBezTo>
                  <a:cubicBezTo>
                    <a:pt x="542" y="1262"/>
                    <a:pt x="555" y="1277"/>
                    <a:pt x="572" y="1277"/>
                  </a:cubicBezTo>
                  <a:lnTo>
                    <a:pt x="635" y="1277"/>
                  </a:lnTo>
                  <a:cubicBezTo>
                    <a:pt x="653" y="1277"/>
                    <a:pt x="669" y="1269"/>
                    <a:pt x="669" y="1223"/>
                  </a:cubicBezTo>
                  <a:lnTo>
                    <a:pt x="669" y="223"/>
                  </a:lnTo>
                  <a:cubicBezTo>
                    <a:pt x="697" y="262"/>
                    <a:pt x="719" y="290"/>
                    <a:pt x="749" y="331"/>
                  </a:cubicBezTo>
                  <a:cubicBezTo>
                    <a:pt x="778" y="400"/>
                    <a:pt x="799" y="447"/>
                    <a:pt x="821" y="507"/>
                  </a:cubicBezTo>
                  <a:cubicBezTo>
                    <a:pt x="830" y="534"/>
                    <a:pt x="845" y="545"/>
                    <a:pt x="868" y="538"/>
                  </a:cubicBezTo>
                  <a:cubicBezTo>
                    <a:pt x="886" y="533"/>
                    <a:pt x="899" y="528"/>
                    <a:pt x="917" y="523"/>
                  </a:cubicBezTo>
                  <a:cubicBezTo>
                    <a:pt x="930" y="519"/>
                    <a:pt x="939" y="500"/>
                    <a:pt x="928" y="463"/>
                  </a:cubicBezTo>
                  <a:cubicBezTo>
                    <a:pt x="912" y="405"/>
                    <a:pt x="897" y="351"/>
                    <a:pt x="882" y="298"/>
                  </a:cubicBezTo>
                  <a:cubicBezTo>
                    <a:pt x="875" y="273"/>
                    <a:pt x="860" y="243"/>
                    <a:pt x="846" y="222"/>
                  </a:cubicBezTo>
                  <a:cubicBezTo>
                    <a:pt x="817" y="179"/>
                    <a:pt x="787" y="136"/>
                    <a:pt x="755" y="91"/>
                  </a:cubicBezTo>
                  <a:cubicBezTo>
                    <a:pt x="715" y="36"/>
                    <a:pt x="661" y="0"/>
                    <a:pt x="581" y="2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 350">
              <a:extLst>
                <a:ext uri="{FF2B5EF4-FFF2-40B4-BE49-F238E27FC236}">
                  <a16:creationId xmlns:a16="http://schemas.microsoft.com/office/drawing/2014/main" id="{FF379719-5EB7-4EA2-B37C-A1A9749FA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825" y="4214813"/>
              <a:ext cx="400050" cy="273050"/>
            </a:xfrm>
            <a:custGeom>
              <a:avLst/>
              <a:gdLst>
                <a:gd name="T0" fmla="*/ 471 w 525"/>
                <a:gd name="T1" fmla="*/ 318 h 358"/>
                <a:gd name="T2" fmla="*/ 525 w 525"/>
                <a:gd name="T3" fmla="*/ 141 h 358"/>
                <a:gd name="T4" fmla="*/ 316 w 525"/>
                <a:gd name="T5" fmla="*/ 200 h 358"/>
                <a:gd name="T6" fmla="*/ 202 w 525"/>
                <a:gd name="T7" fmla="*/ 165 h 358"/>
                <a:gd name="T8" fmla="*/ 62 w 525"/>
                <a:gd name="T9" fmla="*/ 0 h 358"/>
                <a:gd name="T10" fmla="*/ 8 w 525"/>
                <a:gd name="T11" fmla="*/ 177 h 358"/>
                <a:gd name="T12" fmla="*/ 40 w 525"/>
                <a:gd name="T13" fmla="*/ 237 h 358"/>
                <a:gd name="T14" fmla="*/ 411 w 525"/>
                <a:gd name="T15" fmla="*/ 350 h 358"/>
                <a:gd name="T16" fmla="*/ 471 w 525"/>
                <a:gd name="T17" fmla="*/ 318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5" h="358">
                  <a:moveTo>
                    <a:pt x="471" y="318"/>
                  </a:moveTo>
                  <a:cubicBezTo>
                    <a:pt x="485" y="274"/>
                    <a:pt x="505" y="207"/>
                    <a:pt x="525" y="141"/>
                  </a:cubicBezTo>
                  <a:cubicBezTo>
                    <a:pt x="445" y="163"/>
                    <a:pt x="371" y="184"/>
                    <a:pt x="316" y="200"/>
                  </a:cubicBezTo>
                  <a:cubicBezTo>
                    <a:pt x="279" y="210"/>
                    <a:pt x="228" y="195"/>
                    <a:pt x="202" y="165"/>
                  </a:cubicBezTo>
                  <a:cubicBezTo>
                    <a:pt x="165" y="121"/>
                    <a:pt x="115" y="63"/>
                    <a:pt x="62" y="0"/>
                  </a:cubicBezTo>
                  <a:cubicBezTo>
                    <a:pt x="41" y="66"/>
                    <a:pt x="21" y="133"/>
                    <a:pt x="8" y="177"/>
                  </a:cubicBezTo>
                  <a:cubicBezTo>
                    <a:pt x="0" y="203"/>
                    <a:pt x="14" y="230"/>
                    <a:pt x="40" y="237"/>
                  </a:cubicBezTo>
                  <a:cubicBezTo>
                    <a:pt x="126" y="264"/>
                    <a:pt x="325" y="324"/>
                    <a:pt x="411" y="350"/>
                  </a:cubicBezTo>
                  <a:cubicBezTo>
                    <a:pt x="437" y="358"/>
                    <a:pt x="463" y="344"/>
                    <a:pt x="471" y="31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 351">
              <a:extLst>
                <a:ext uri="{FF2B5EF4-FFF2-40B4-BE49-F238E27FC236}">
                  <a16:creationId xmlns:a16="http://schemas.microsoft.com/office/drawing/2014/main" id="{3F3EA6AE-D270-4A9E-BC7F-A17EF1AEB4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8450" y="4113213"/>
              <a:ext cx="381000" cy="233363"/>
            </a:xfrm>
            <a:custGeom>
              <a:avLst/>
              <a:gdLst>
                <a:gd name="T0" fmla="*/ 275 w 500"/>
                <a:gd name="T1" fmla="*/ 56 h 307"/>
                <a:gd name="T2" fmla="*/ 325 w 500"/>
                <a:gd name="T3" fmla="*/ 109 h 307"/>
                <a:gd name="T4" fmla="*/ 204 w 500"/>
                <a:gd name="T5" fmla="*/ 72 h 307"/>
                <a:gd name="T6" fmla="*/ 275 w 500"/>
                <a:gd name="T7" fmla="*/ 56 h 307"/>
                <a:gd name="T8" fmla="*/ 201 w 500"/>
                <a:gd name="T9" fmla="*/ 300 h 307"/>
                <a:gd name="T10" fmla="*/ 255 w 500"/>
                <a:gd name="T11" fmla="*/ 303 h 307"/>
                <a:gd name="T12" fmla="*/ 485 w 500"/>
                <a:gd name="T13" fmla="*/ 238 h 307"/>
                <a:gd name="T14" fmla="*/ 493 w 500"/>
                <a:gd name="T15" fmla="*/ 212 h 307"/>
                <a:gd name="T16" fmla="*/ 460 w 500"/>
                <a:gd name="T17" fmla="*/ 150 h 307"/>
                <a:gd name="T18" fmla="*/ 371 w 500"/>
                <a:gd name="T19" fmla="*/ 123 h 307"/>
                <a:gd name="T20" fmla="*/ 365 w 500"/>
                <a:gd name="T21" fmla="*/ 108 h 307"/>
                <a:gd name="T22" fmla="*/ 286 w 500"/>
                <a:gd name="T23" fmla="*/ 19 h 307"/>
                <a:gd name="T24" fmla="*/ 172 w 500"/>
                <a:gd name="T25" fmla="*/ 50 h 307"/>
                <a:gd name="T26" fmla="*/ 159 w 500"/>
                <a:gd name="T27" fmla="*/ 58 h 307"/>
                <a:gd name="T28" fmla="*/ 69 w 500"/>
                <a:gd name="T29" fmla="*/ 31 h 307"/>
                <a:gd name="T30" fmla="*/ 8 w 500"/>
                <a:gd name="T31" fmla="*/ 64 h 307"/>
                <a:gd name="T32" fmla="*/ 0 w 500"/>
                <a:gd name="T33" fmla="*/ 91 h 307"/>
                <a:gd name="T34" fmla="*/ 155 w 500"/>
                <a:gd name="T35" fmla="*/ 272 h 307"/>
                <a:gd name="T36" fmla="*/ 201 w 500"/>
                <a:gd name="T37" fmla="*/ 300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00" h="307">
                  <a:moveTo>
                    <a:pt x="275" y="56"/>
                  </a:moveTo>
                  <a:cubicBezTo>
                    <a:pt x="312" y="67"/>
                    <a:pt x="320" y="88"/>
                    <a:pt x="325" y="109"/>
                  </a:cubicBezTo>
                  <a:cubicBezTo>
                    <a:pt x="286" y="97"/>
                    <a:pt x="243" y="84"/>
                    <a:pt x="204" y="72"/>
                  </a:cubicBezTo>
                  <a:cubicBezTo>
                    <a:pt x="220" y="58"/>
                    <a:pt x="238" y="45"/>
                    <a:pt x="275" y="56"/>
                  </a:cubicBezTo>
                  <a:close/>
                  <a:moveTo>
                    <a:pt x="201" y="300"/>
                  </a:moveTo>
                  <a:cubicBezTo>
                    <a:pt x="220" y="306"/>
                    <a:pt x="239" y="307"/>
                    <a:pt x="255" y="303"/>
                  </a:cubicBezTo>
                  <a:lnTo>
                    <a:pt x="485" y="238"/>
                  </a:lnTo>
                  <a:cubicBezTo>
                    <a:pt x="485" y="238"/>
                    <a:pt x="490" y="222"/>
                    <a:pt x="493" y="212"/>
                  </a:cubicBezTo>
                  <a:cubicBezTo>
                    <a:pt x="500" y="189"/>
                    <a:pt x="490" y="159"/>
                    <a:pt x="460" y="150"/>
                  </a:cubicBezTo>
                  <a:cubicBezTo>
                    <a:pt x="447" y="146"/>
                    <a:pt x="410" y="135"/>
                    <a:pt x="371" y="123"/>
                  </a:cubicBezTo>
                  <a:cubicBezTo>
                    <a:pt x="367" y="122"/>
                    <a:pt x="366" y="113"/>
                    <a:pt x="365" y="108"/>
                  </a:cubicBezTo>
                  <a:cubicBezTo>
                    <a:pt x="359" y="84"/>
                    <a:pt x="349" y="38"/>
                    <a:pt x="286" y="19"/>
                  </a:cubicBezTo>
                  <a:cubicBezTo>
                    <a:pt x="223" y="0"/>
                    <a:pt x="190" y="32"/>
                    <a:pt x="172" y="50"/>
                  </a:cubicBezTo>
                  <a:cubicBezTo>
                    <a:pt x="168" y="53"/>
                    <a:pt x="163" y="60"/>
                    <a:pt x="159" y="58"/>
                  </a:cubicBezTo>
                  <a:cubicBezTo>
                    <a:pt x="126" y="49"/>
                    <a:pt x="82" y="35"/>
                    <a:pt x="69" y="31"/>
                  </a:cubicBezTo>
                  <a:cubicBezTo>
                    <a:pt x="39" y="22"/>
                    <a:pt x="15" y="41"/>
                    <a:pt x="8" y="64"/>
                  </a:cubicBezTo>
                  <a:cubicBezTo>
                    <a:pt x="4" y="75"/>
                    <a:pt x="0" y="91"/>
                    <a:pt x="0" y="91"/>
                  </a:cubicBezTo>
                  <a:lnTo>
                    <a:pt x="155" y="272"/>
                  </a:lnTo>
                  <a:cubicBezTo>
                    <a:pt x="165" y="285"/>
                    <a:pt x="182" y="295"/>
                    <a:pt x="201" y="300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352">
              <a:extLst>
                <a:ext uri="{FF2B5EF4-FFF2-40B4-BE49-F238E27FC236}">
                  <a16:creationId xmlns:a16="http://schemas.microsoft.com/office/drawing/2014/main" id="{A662A87C-CBF4-4EC3-B6B3-EA946A56BD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96925" y="3436938"/>
              <a:ext cx="234950" cy="274638"/>
            </a:xfrm>
            <a:custGeom>
              <a:avLst/>
              <a:gdLst>
                <a:gd name="T0" fmla="*/ 194 w 308"/>
                <a:gd name="T1" fmla="*/ 18 h 360"/>
                <a:gd name="T2" fmla="*/ 22 w 308"/>
                <a:gd name="T3" fmla="*/ 148 h 360"/>
                <a:gd name="T4" fmla="*/ 114 w 308"/>
                <a:gd name="T5" fmla="*/ 342 h 360"/>
                <a:gd name="T6" fmla="*/ 285 w 308"/>
                <a:gd name="T7" fmla="*/ 213 h 360"/>
                <a:gd name="T8" fmla="*/ 194 w 308"/>
                <a:gd name="T9" fmla="*/ 18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8" h="360">
                  <a:moveTo>
                    <a:pt x="194" y="18"/>
                  </a:moveTo>
                  <a:cubicBezTo>
                    <a:pt x="121" y="0"/>
                    <a:pt x="44" y="58"/>
                    <a:pt x="22" y="148"/>
                  </a:cubicBezTo>
                  <a:cubicBezTo>
                    <a:pt x="0" y="237"/>
                    <a:pt x="41" y="324"/>
                    <a:pt x="114" y="342"/>
                  </a:cubicBezTo>
                  <a:cubicBezTo>
                    <a:pt x="186" y="360"/>
                    <a:pt x="263" y="302"/>
                    <a:pt x="285" y="213"/>
                  </a:cubicBezTo>
                  <a:cubicBezTo>
                    <a:pt x="308" y="123"/>
                    <a:pt x="267" y="36"/>
                    <a:pt x="194" y="18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353">
              <a:extLst>
                <a:ext uri="{FF2B5EF4-FFF2-40B4-BE49-F238E27FC236}">
                  <a16:creationId xmlns:a16="http://schemas.microsoft.com/office/drawing/2014/main" id="{3DF883B9-DC21-44EE-B3E1-99BB2141A7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90538" y="3695700"/>
              <a:ext cx="715963" cy="973138"/>
            </a:xfrm>
            <a:custGeom>
              <a:avLst/>
              <a:gdLst>
                <a:gd name="T0" fmla="*/ 444 w 939"/>
                <a:gd name="T1" fmla="*/ 150 h 1277"/>
                <a:gd name="T2" fmla="*/ 443 w 939"/>
                <a:gd name="T3" fmla="*/ 124 h 1277"/>
                <a:gd name="T4" fmla="*/ 470 w 939"/>
                <a:gd name="T5" fmla="*/ 96 h 1277"/>
                <a:gd name="T6" fmla="*/ 494 w 939"/>
                <a:gd name="T7" fmla="*/ 94 h 1277"/>
                <a:gd name="T8" fmla="*/ 515 w 939"/>
                <a:gd name="T9" fmla="*/ 107 h 1277"/>
                <a:gd name="T10" fmla="*/ 526 w 939"/>
                <a:gd name="T11" fmla="*/ 144 h 1277"/>
                <a:gd name="T12" fmla="*/ 513 w 939"/>
                <a:gd name="T13" fmla="*/ 167 h 1277"/>
                <a:gd name="T14" fmla="*/ 485 w 939"/>
                <a:gd name="T15" fmla="*/ 201 h 1277"/>
                <a:gd name="T16" fmla="*/ 541 w 939"/>
                <a:gd name="T17" fmla="*/ 442 h 1277"/>
                <a:gd name="T18" fmla="*/ 467 w 939"/>
                <a:gd name="T19" fmla="*/ 525 h 1277"/>
                <a:gd name="T20" fmla="*/ 394 w 939"/>
                <a:gd name="T21" fmla="*/ 442 h 1277"/>
                <a:gd name="T22" fmla="*/ 452 w 939"/>
                <a:gd name="T23" fmla="*/ 201 h 1277"/>
                <a:gd name="T24" fmla="*/ 444 w 939"/>
                <a:gd name="T25" fmla="*/ 150 h 1277"/>
                <a:gd name="T26" fmla="*/ 22 w 939"/>
                <a:gd name="T27" fmla="*/ 523 h 1277"/>
                <a:gd name="T28" fmla="*/ 71 w 939"/>
                <a:gd name="T29" fmla="*/ 538 h 1277"/>
                <a:gd name="T30" fmla="*/ 118 w 939"/>
                <a:gd name="T31" fmla="*/ 507 h 1277"/>
                <a:gd name="T32" fmla="*/ 190 w 939"/>
                <a:gd name="T33" fmla="*/ 331 h 1277"/>
                <a:gd name="T34" fmla="*/ 270 w 939"/>
                <a:gd name="T35" fmla="*/ 223 h 1277"/>
                <a:gd name="T36" fmla="*/ 270 w 939"/>
                <a:gd name="T37" fmla="*/ 1223 h 1277"/>
                <a:gd name="T38" fmla="*/ 304 w 939"/>
                <a:gd name="T39" fmla="*/ 1277 h 1277"/>
                <a:gd name="T40" fmla="*/ 367 w 939"/>
                <a:gd name="T41" fmla="*/ 1277 h 1277"/>
                <a:gd name="T42" fmla="*/ 403 w 939"/>
                <a:gd name="T43" fmla="*/ 1220 h 1277"/>
                <a:gd name="T44" fmla="*/ 457 w 939"/>
                <a:gd name="T45" fmla="*/ 742 h 1277"/>
                <a:gd name="T46" fmla="*/ 510 w 939"/>
                <a:gd name="T47" fmla="*/ 1220 h 1277"/>
                <a:gd name="T48" fmla="*/ 546 w 939"/>
                <a:gd name="T49" fmla="*/ 1277 h 1277"/>
                <a:gd name="T50" fmla="*/ 609 w 939"/>
                <a:gd name="T51" fmla="*/ 1277 h 1277"/>
                <a:gd name="T52" fmla="*/ 644 w 939"/>
                <a:gd name="T53" fmla="*/ 1223 h 1277"/>
                <a:gd name="T54" fmla="*/ 633 w 939"/>
                <a:gd name="T55" fmla="*/ 313 h 1277"/>
                <a:gd name="T56" fmla="*/ 655 w 939"/>
                <a:gd name="T57" fmla="*/ 419 h 1277"/>
                <a:gd name="T58" fmla="*/ 708 w 939"/>
                <a:gd name="T59" fmla="*/ 500 h 1277"/>
                <a:gd name="T60" fmla="*/ 866 w 939"/>
                <a:gd name="T61" fmla="*/ 548 h 1277"/>
                <a:gd name="T62" fmla="*/ 918 w 939"/>
                <a:gd name="T63" fmla="*/ 527 h 1277"/>
                <a:gd name="T64" fmla="*/ 935 w 939"/>
                <a:gd name="T65" fmla="*/ 478 h 1277"/>
                <a:gd name="T66" fmla="*/ 900 w 939"/>
                <a:gd name="T67" fmla="*/ 430 h 1277"/>
                <a:gd name="T68" fmla="*/ 786 w 939"/>
                <a:gd name="T69" fmla="*/ 365 h 1277"/>
                <a:gd name="T70" fmla="*/ 770 w 939"/>
                <a:gd name="T71" fmla="*/ 236 h 1277"/>
                <a:gd name="T72" fmla="*/ 649 w 939"/>
                <a:gd name="T73" fmla="*/ 92 h 1277"/>
                <a:gd name="T74" fmla="*/ 504 w 939"/>
                <a:gd name="T75" fmla="*/ 56 h 1277"/>
                <a:gd name="T76" fmla="*/ 358 w 939"/>
                <a:gd name="T77" fmla="*/ 20 h 1277"/>
                <a:gd name="T78" fmla="*/ 184 w 939"/>
                <a:gd name="T79" fmla="*/ 91 h 1277"/>
                <a:gd name="T80" fmla="*/ 93 w 939"/>
                <a:gd name="T81" fmla="*/ 222 h 1277"/>
                <a:gd name="T82" fmla="*/ 57 w 939"/>
                <a:gd name="T83" fmla="*/ 298 h 1277"/>
                <a:gd name="T84" fmla="*/ 10 w 939"/>
                <a:gd name="T85" fmla="*/ 463 h 1277"/>
                <a:gd name="T86" fmla="*/ 22 w 939"/>
                <a:gd name="T87" fmla="*/ 523 h 1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939" h="1277">
                  <a:moveTo>
                    <a:pt x="444" y="150"/>
                  </a:moveTo>
                  <a:cubicBezTo>
                    <a:pt x="437" y="141"/>
                    <a:pt x="435" y="133"/>
                    <a:pt x="443" y="124"/>
                  </a:cubicBezTo>
                  <a:cubicBezTo>
                    <a:pt x="450" y="116"/>
                    <a:pt x="460" y="106"/>
                    <a:pt x="470" y="96"/>
                  </a:cubicBezTo>
                  <a:cubicBezTo>
                    <a:pt x="475" y="91"/>
                    <a:pt x="484" y="91"/>
                    <a:pt x="494" y="94"/>
                  </a:cubicBezTo>
                  <a:cubicBezTo>
                    <a:pt x="505" y="96"/>
                    <a:pt x="513" y="100"/>
                    <a:pt x="515" y="107"/>
                  </a:cubicBezTo>
                  <a:cubicBezTo>
                    <a:pt x="519" y="121"/>
                    <a:pt x="523" y="134"/>
                    <a:pt x="526" y="144"/>
                  </a:cubicBezTo>
                  <a:cubicBezTo>
                    <a:pt x="529" y="156"/>
                    <a:pt x="523" y="162"/>
                    <a:pt x="513" y="167"/>
                  </a:cubicBezTo>
                  <a:cubicBezTo>
                    <a:pt x="495" y="176"/>
                    <a:pt x="482" y="183"/>
                    <a:pt x="485" y="201"/>
                  </a:cubicBezTo>
                  <a:cubicBezTo>
                    <a:pt x="491" y="234"/>
                    <a:pt x="536" y="417"/>
                    <a:pt x="541" y="442"/>
                  </a:cubicBezTo>
                  <a:cubicBezTo>
                    <a:pt x="529" y="465"/>
                    <a:pt x="479" y="525"/>
                    <a:pt x="467" y="525"/>
                  </a:cubicBezTo>
                  <a:cubicBezTo>
                    <a:pt x="456" y="525"/>
                    <a:pt x="406" y="464"/>
                    <a:pt x="394" y="442"/>
                  </a:cubicBezTo>
                  <a:cubicBezTo>
                    <a:pt x="400" y="416"/>
                    <a:pt x="445" y="234"/>
                    <a:pt x="452" y="201"/>
                  </a:cubicBezTo>
                  <a:cubicBezTo>
                    <a:pt x="455" y="183"/>
                    <a:pt x="456" y="167"/>
                    <a:pt x="444" y="150"/>
                  </a:cubicBezTo>
                  <a:close/>
                  <a:moveTo>
                    <a:pt x="22" y="523"/>
                  </a:moveTo>
                  <a:cubicBezTo>
                    <a:pt x="40" y="528"/>
                    <a:pt x="53" y="533"/>
                    <a:pt x="71" y="538"/>
                  </a:cubicBezTo>
                  <a:cubicBezTo>
                    <a:pt x="94" y="545"/>
                    <a:pt x="109" y="534"/>
                    <a:pt x="118" y="507"/>
                  </a:cubicBezTo>
                  <a:cubicBezTo>
                    <a:pt x="140" y="447"/>
                    <a:pt x="161" y="400"/>
                    <a:pt x="190" y="331"/>
                  </a:cubicBezTo>
                  <a:cubicBezTo>
                    <a:pt x="220" y="290"/>
                    <a:pt x="242" y="262"/>
                    <a:pt x="270" y="223"/>
                  </a:cubicBezTo>
                  <a:lnTo>
                    <a:pt x="270" y="1223"/>
                  </a:lnTo>
                  <a:cubicBezTo>
                    <a:pt x="270" y="1269"/>
                    <a:pt x="286" y="1277"/>
                    <a:pt x="304" y="1277"/>
                  </a:cubicBezTo>
                  <a:lnTo>
                    <a:pt x="367" y="1277"/>
                  </a:lnTo>
                  <a:cubicBezTo>
                    <a:pt x="384" y="1277"/>
                    <a:pt x="397" y="1262"/>
                    <a:pt x="403" y="1220"/>
                  </a:cubicBezTo>
                  <a:cubicBezTo>
                    <a:pt x="414" y="1152"/>
                    <a:pt x="433" y="992"/>
                    <a:pt x="457" y="742"/>
                  </a:cubicBezTo>
                  <a:cubicBezTo>
                    <a:pt x="481" y="992"/>
                    <a:pt x="500" y="1152"/>
                    <a:pt x="510" y="1220"/>
                  </a:cubicBezTo>
                  <a:cubicBezTo>
                    <a:pt x="516" y="1262"/>
                    <a:pt x="529" y="1277"/>
                    <a:pt x="546" y="1277"/>
                  </a:cubicBezTo>
                  <a:lnTo>
                    <a:pt x="609" y="1277"/>
                  </a:lnTo>
                  <a:cubicBezTo>
                    <a:pt x="628" y="1277"/>
                    <a:pt x="644" y="1269"/>
                    <a:pt x="644" y="1223"/>
                  </a:cubicBezTo>
                  <a:cubicBezTo>
                    <a:pt x="644" y="1124"/>
                    <a:pt x="609" y="410"/>
                    <a:pt x="633" y="313"/>
                  </a:cubicBezTo>
                  <a:cubicBezTo>
                    <a:pt x="640" y="347"/>
                    <a:pt x="647" y="382"/>
                    <a:pt x="655" y="419"/>
                  </a:cubicBezTo>
                  <a:cubicBezTo>
                    <a:pt x="661" y="450"/>
                    <a:pt x="665" y="486"/>
                    <a:pt x="708" y="500"/>
                  </a:cubicBezTo>
                  <a:cubicBezTo>
                    <a:pt x="746" y="513"/>
                    <a:pt x="832" y="538"/>
                    <a:pt x="866" y="548"/>
                  </a:cubicBezTo>
                  <a:cubicBezTo>
                    <a:pt x="893" y="555"/>
                    <a:pt x="910" y="550"/>
                    <a:pt x="918" y="527"/>
                  </a:cubicBezTo>
                  <a:cubicBezTo>
                    <a:pt x="925" y="509"/>
                    <a:pt x="928" y="496"/>
                    <a:pt x="935" y="478"/>
                  </a:cubicBezTo>
                  <a:cubicBezTo>
                    <a:pt x="939" y="466"/>
                    <a:pt x="932" y="449"/>
                    <a:pt x="900" y="430"/>
                  </a:cubicBezTo>
                  <a:cubicBezTo>
                    <a:pt x="867" y="411"/>
                    <a:pt x="829" y="392"/>
                    <a:pt x="786" y="365"/>
                  </a:cubicBezTo>
                  <a:cubicBezTo>
                    <a:pt x="782" y="330"/>
                    <a:pt x="776" y="273"/>
                    <a:pt x="770" y="236"/>
                  </a:cubicBezTo>
                  <a:cubicBezTo>
                    <a:pt x="760" y="168"/>
                    <a:pt x="730" y="112"/>
                    <a:pt x="649" y="92"/>
                  </a:cubicBezTo>
                  <a:cubicBezTo>
                    <a:pt x="625" y="86"/>
                    <a:pt x="566" y="71"/>
                    <a:pt x="504" y="56"/>
                  </a:cubicBezTo>
                  <a:cubicBezTo>
                    <a:pt x="441" y="40"/>
                    <a:pt x="383" y="26"/>
                    <a:pt x="358" y="20"/>
                  </a:cubicBezTo>
                  <a:cubicBezTo>
                    <a:pt x="278" y="0"/>
                    <a:pt x="224" y="36"/>
                    <a:pt x="184" y="91"/>
                  </a:cubicBezTo>
                  <a:cubicBezTo>
                    <a:pt x="152" y="136"/>
                    <a:pt x="122" y="179"/>
                    <a:pt x="93" y="222"/>
                  </a:cubicBezTo>
                  <a:cubicBezTo>
                    <a:pt x="79" y="243"/>
                    <a:pt x="64" y="273"/>
                    <a:pt x="57" y="298"/>
                  </a:cubicBezTo>
                  <a:cubicBezTo>
                    <a:pt x="42" y="351"/>
                    <a:pt x="27" y="405"/>
                    <a:pt x="10" y="463"/>
                  </a:cubicBezTo>
                  <a:cubicBezTo>
                    <a:pt x="0" y="500"/>
                    <a:pt x="9" y="519"/>
                    <a:pt x="22" y="523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1" name="Oval 260">
            <a:extLst>
              <a:ext uri="{FF2B5EF4-FFF2-40B4-BE49-F238E27FC236}">
                <a16:creationId xmlns:a16="http://schemas.microsoft.com/office/drawing/2014/main" id="{1C8360E5-EE2F-4583-BA5A-EAC6196CEBBE}"/>
              </a:ext>
            </a:extLst>
          </p:cNvPr>
          <p:cNvSpPr>
            <a:spLocks noChangeAspect="1"/>
          </p:cNvSpPr>
          <p:nvPr/>
        </p:nvSpPr>
        <p:spPr>
          <a:xfrm>
            <a:off x="4697424" y="5364336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2" name="TextBox 56">
            <a:extLst>
              <a:ext uri="{FF2B5EF4-FFF2-40B4-BE49-F238E27FC236}">
                <a16:creationId xmlns:a16="http://schemas.microsoft.com/office/drawing/2014/main" id="{F334E855-7A15-4516-8941-AFAA8696C955}"/>
              </a:ext>
            </a:extLst>
          </p:cNvPr>
          <p:cNvSpPr txBox="1"/>
          <p:nvPr/>
        </p:nvSpPr>
        <p:spPr>
          <a:xfrm>
            <a:off x="6630353" y="5599733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13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3" name="TextBox 89">
            <a:extLst>
              <a:ext uri="{FF2B5EF4-FFF2-40B4-BE49-F238E27FC236}">
                <a16:creationId xmlns:a16="http://schemas.microsoft.com/office/drawing/2014/main" id="{6B8782A0-BA40-45D1-9085-A2D66AA36EAE}"/>
              </a:ext>
            </a:extLst>
          </p:cNvPr>
          <p:cNvSpPr txBox="1"/>
          <p:nvPr/>
        </p:nvSpPr>
        <p:spPr>
          <a:xfrm>
            <a:off x="5837920" y="5868674"/>
            <a:ext cx="23134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lot Uygulama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4" name="Oval 263">
            <a:extLst>
              <a:ext uri="{FF2B5EF4-FFF2-40B4-BE49-F238E27FC236}">
                <a16:creationId xmlns:a16="http://schemas.microsoft.com/office/drawing/2014/main" id="{4A818171-2A49-41D0-BFD0-DC7C6CC6F6F5}"/>
              </a:ext>
            </a:extLst>
          </p:cNvPr>
          <p:cNvSpPr>
            <a:spLocks noChangeAspect="1"/>
          </p:cNvSpPr>
          <p:nvPr/>
        </p:nvSpPr>
        <p:spPr>
          <a:xfrm>
            <a:off x="6863449" y="5351363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5" name="TextBox 56">
            <a:extLst>
              <a:ext uri="{FF2B5EF4-FFF2-40B4-BE49-F238E27FC236}">
                <a16:creationId xmlns:a16="http://schemas.microsoft.com/office/drawing/2014/main" id="{1E80CCCA-1901-4CE1-BD2F-147582F26865}"/>
              </a:ext>
            </a:extLst>
          </p:cNvPr>
          <p:cNvSpPr txBox="1"/>
          <p:nvPr/>
        </p:nvSpPr>
        <p:spPr>
          <a:xfrm>
            <a:off x="8470317" y="5576368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1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az-14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6" name="TextBox 89">
            <a:extLst>
              <a:ext uri="{FF2B5EF4-FFF2-40B4-BE49-F238E27FC236}">
                <a16:creationId xmlns:a16="http://schemas.microsoft.com/office/drawing/2014/main" id="{02374EBB-917F-47CD-BA8E-F0CC41DA2591}"/>
              </a:ext>
            </a:extLst>
          </p:cNvPr>
          <p:cNvSpPr txBox="1"/>
          <p:nvPr/>
        </p:nvSpPr>
        <p:spPr>
          <a:xfrm>
            <a:off x="7682934" y="5805513"/>
            <a:ext cx="183420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100" b="0" i="0" u="none" strike="noStrike" kern="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je Çıktılarının Raporlanması</a:t>
            </a:r>
            <a:endParaRPr kumimoji="0" lang="en-US" sz="1100" b="0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7" name="Oval 266">
            <a:extLst>
              <a:ext uri="{FF2B5EF4-FFF2-40B4-BE49-F238E27FC236}">
                <a16:creationId xmlns:a16="http://schemas.microsoft.com/office/drawing/2014/main" id="{80FBC013-979C-4A55-81D4-50A6EB6D70FF}"/>
              </a:ext>
            </a:extLst>
          </p:cNvPr>
          <p:cNvSpPr>
            <a:spLocks noChangeAspect="1"/>
          </p:cNvSpPr>
          <p:nvPr/>
        </p:nvSpPr>
        <p:spPr>
          <a:xfrm>
            <a:off x="8650700" y="5322594"/>
            <a:ext cx="291356" cy="2913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1" name="Picture 15">
            <a:extLst>
              <a:ext uri="{FF2B5EF4-FFF2-40B4-BE49-F238E27FC236}">
                <a16:creationId xmlns:a16="http://schemas.microsoft.com/office/drawing/2014/main" id="{7B60D247-6684-4504-89E6-C51055017338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378728" y="5161757"/>
            <a:ext cx="1268619" cy="829222"/>
          </a:xfrm>
          <a:prstGeom prst="rect">
            <a:avLst/>
          </a:prstGeom>
        </p:spPr>
      </p:pic>
      <p:grpSp>
        <p:nvGrpSpPr>
          <p:cNvPr id="272" name="Meeting7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C46C6D38-0269-408C-84C0-B8ECF28C0146}"/>
              </a:ext>
            </a:extLst>
          </p:cNvPr>
          <p:cNvGrpSpPr>
            <a:grpSpLocks noChangeAspect="1"/>
          </p:cNvGrpSpPr>
          <p:nvPr>
            <p:custDataLst>
              <p:tags r:id="rId8"/>
            </p:custDataLst>
          </p:nvPr>
        </p:nvGrpSpPr>
        <p:grpSpPr>
          <a:xfrm>
            <a:off x="1011419" y="4770172"/>
            <a:ext cx="895027" cy="482008"/>
            <a:chOff x="1920875" y="-169862"/>
            <a:chExt cx="1565276" cy="842962"/>
          </a:xfrm>
          <a:solidFill>
            <a:srgbClr val="FF0000"/>
          </a:solidFill>
        </p:grpSpPr>
        <p:sp>
          <p:nvSpPr>
            <p:cNvPr id="273" name="Freeform 373">
              <a:extLst>
                <a:ext uri="{FF2B5EF4-FFF2-40B4-BE49-F238E27FC236}">
                  <a16:creationId xmlns:a16="http://schemas.microsoft.com/office/drawing/2014/main" id="{D2B3F095-C09C-4821-9BE4-CBECD66F76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6488" y="38100"/>
              <a:ext cx="311150" cy="182563"/>
            </a:xfrm>
            <a:custGeom>
              <a:avLst/>
              <a:gdLst>
                <a:gd name="T0" fmla="*/ 183 w 408"/>
                <a:gd name="T1" fmla="*/ 52 h 239"/>
                <a:gd name="T2" fmla="*/ 179 w 408"/>
                <a:gd name="T3" fmla="*/ 40 h 239"/>
                <a:gd name="T4" fmla="*/ 191 w 408"/>
                <a:gd name="T5" fmla="*/ 23 h 239"/>
                <a:gd name="T6" fmla="*/ 204 w 408"/>
                <a:gd name="T7" fmla="*/ 19 h 239"/>
                <a:gd name="T8" fmla="*/ 218 w 408"/>
                <a:gd name="T9" fmla="*/ 23 h 239"/>
                <a:gd name="T10" fmla="*/ 229 w 408"/>
                <a:gd name="T11" fmla="*/ 40 h 239"/>
                <a:gd name="T12" fmla="*/ 225 w 408"/>
                <a:gd name="T13" fmla="*/ 52 h 239"/>
                <a:gd name="T14" fmla="*/ 214 w 408"/>
                <a:gd name="T15" fmla="*/ 70 h 239"/>
                <a:gd name="T16" fmla="*/ 247 w 408"/>
                <a:gd name="T17" fmla="*/ 188 h 239"/>
                <a:gd name="T18" fmla="*/ 204 w 408"/>
                <a:gd name="T19" fmla="*/ 229 h 239"/>
                <a:gd name="T20" fmla="*/ 161 w 408"/>
                <a:gd name="T21" fmla="*/ 188 h 239"/>
                <a:gd name="T22" fmla="*/ 195 w 408"/>
                <a:gd name="T23" fmla="*/ 70 h 239"/>
                <a:gd name="T24" fmla="*/ 183 w 408"/>
                <a:gd name="T25" fmla="*/ 52 h 239"/>
                <a:gd name="T26" fmla="*/ 314 w 408"/>
                <a:gd name="T27" fmla="*/ 239 h 239"/>
                <a:gd name="T28" fmla="*/ 314 w 408"/>
                <a:gd name="T29" fmla="*/ 162 h 239"/>
                <a:gd name="T30" fmla="*/ 336 w 408"/>
                <a:gd name="T31" fmla="*/ 239 h 239"/>
                <a:gd name="T32" fmla="*/ 408 w 408"/>
                <a:gd name="T33" fmla="*/ 239 h 239"/>
                <a:gd name="T34" fmla="*/ 369 w 408"/>
                <a:gd name="T35" fmla="*/ 66 h 239"/>
                <a:gd name="T36" fmla="*/ 292 w 408"/>
                <a:gd name="T37" fmla="*/ 0 h 239"/>
                <a:gd name="T38" fmla="*/ 204 w 408"/>
                <a:gd name="T39" fmla="*/ 0 h 239"/>
                <a:gd name="T40" fmla="*/ 116 w 408"/>
                <a:gd name="T41" fmla="*/ 0 h 239"/>
                <a:gd name="T42" fmla="*/ 39 w 408"/>
                <a:gd name="T43" fmla="*/ 66 h 239"/>
                <a:gd name="T44" fmla="*/ 0 w 408"/>
                <a:gd name="T45" fmla="*/ 239 h 239"/>
                <a:gd name="T46" fmla="*/ 73 w 408"/>
                <a:gd name="T47" fmla="*/ 239 h 239"/>
                <a:gd name="T48" fmla="*/ 94 w 408"/>
                <a:gd name="T49" fmla="*/ 162 h 239"/>
                <a:gd name="T50" fmla="*/ 94 w 408"/>
                <a:gd name="T51" fmla="*/ 239 h 239"/>
                <a:gd name="T52" fmla="*/ 314 w 408"/>
                <a:gd name="T5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8" h="239">
                  <a:moveTo>
                    <a:pt x="183" y="52"/>
                  </a:moveTo>
                  <a:cubicBezTo>
                    <a:pt x="178" y="48"/>
                    <a:pt x="176" y="45"/>
                    <a:pt x="179" y="40"/>
                  </a:cubicBezTo>
                  <a:cubicBezTo>
                    <a:pt x="182" y="35"/>
                    <a:pt x="186" y="29"/>
                    <a:pt x="191" y="23"/>
                  </a:cubicBezTo>
                  <a:cubicBezTo>
                    <a:pt x="193" y="20"/>
                    <a:pt x="198" y="19"/>
                    <a:pt x="204" y="19"/>
                  </a:cubicBezTo>
                  <a:cubicBezTo>
                    <a:pt x="211" y="19"/>
                    <a:pt x="216" y="20"/>
                    <a:pt x="218" y="23"/>
                  </a:cubicBezTo>
                  <a:cubicBezTo>
                    <a:pt x="222" y="29"/>
                    <a:pt x="226" y="35"/>
                    <a:pt x="229" y="40"/>
                  </a:cubicBezTo>
                  <a:cubicBezTo>
                    <a:pt x="233" y="45"/>
                    <a:pt x="230" y="48"/>
                    <a:pt x="225" y="52"/>
                  </a:cubicBezTo>
                  <a:cubicBezTo>
                    <a:pt x="216" y="58"/>
                    <a:pt x="212" y="62"/>
                    <a:pt x="214" y="70"/>
                  </a:cubicBezTo>
                  <a:cubicBezTo>
                    <a:pt x="218" y="86"/>
                    <a:pt x="244" y="176"/>
                    <a:pt x="247" y="188"/>
                  </a:cubicBezTo>
                  <a:cubicBezTo>
                    <a:pt x="240" y="199"/>
                    <a:pt x="211" y="229"/>
                    <a:pt x="204" y="229"/>
                  </a:cubicBezTo>
                  <a:cubicBezTo>
                    <a:pt x="198" y="229"/>
                    <a:pt x="168" y="199"/>
                    <a:pt x="161" y="188"/>
                  </a:cubicBezTo>
                  <a:cubicBezTo>
                    <a:pt x="164" y="176"/>
                    <a:pt x="191" y="86"/>
                    <a:pt x="195" y="70"/>
                  </a:cubicBezTo>
                  <a:cubicBezTo>
                    <a:pt x="196" y="62"/>
                    <a:pt x="193" y="58"/>
                    <a:pt x="183" y="52"/>
                  </a:cubicBezTo>
                  <a:close/>
                  <a:moveTo>
                    <a:pt x="314" y="239"/>
                  </a:moveTo>
                  <a:lnTo>
                    <a:pt x="314" y="162"/>
                  </a:lnTo>
                  <a:cubicBezTo>
                    <a:pt x="323" y="194"/>
                    <a:pt x="328" y="213"/>
                    <a:pt x="336" y="239"/>
                  </a:cubicBezTo>
                  <a:lnTo>
                    <a:pt x="408" y="239"/>
                  </a:lnTo>
                  <a:cubicBezTo>
                    <a:pt x="395" y="178"/>
                    <a:pt x="385" y="126"/>
                    <a:pt x="369" y="66"/>
                  </a:cubicBezTo>
                  <a:cubicBezTo>
                    <a:pt x="361" y="34"/>
                    <a:pt x="341" y="0"/>
                    <a:pt x="292" y="0"/>
                  </a:cubicBezTo>
                  <a:lnTo>
                    <a:pt x="204" y="0"/>
                  </a:lnTo>
                  <a:lnTo>
                    <a:pt x="116" y="0"/>
                  </a:lnTo>
                  <a:cubicBezTo>
                    <a:pt x="67" y="0"/>
                    <a:pt x="48" y="34"/>
                    <a:pt x="39" y="66"/>
                  </a:cubicBezTo>
                  <a:cubicBezTo>
                    <a:pt x="23" y="126"/>
                    <a:pt x="14" y="178"/>
                    <a:pt x="0" y="239"/>
                  </a:cubicBezTo>
                  <a:lnTo>
                    <a:pt x="73" y="239"/>
                  </a:lnTo>
                  <a:cubicBezTo>
                    <a:pt x="80" y="213"/>
                    <a:pt x="86" y="194"/>
                    <a:pt x="94" y="162"/>
                  </a:cubicBezTo>
                  <a:lnTo>
                    <a:pt x="94" y="239"/>
                  </a:lnTo>
                  <a:lnTo>
                    <a:pt x="314" y="239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Oval 374">
              <a:extLst>
                <a:ext uri="{FF2B5EF4-FFF2-40B4-BE49-F238E27FC236}">
                  <a16:creationId xmlns:a16="http://schemas.microsoft.com/office/drawing/2014/main" id="{19D59DAB-D2B1-4B14-9969-7ACD37068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0625" y="-163512"/>
              <a:ext cx="144463" cy="179388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375">
              <a:extLst>
                <a:ext uri="{FF2B5EF4-FFF2-40B4-BE49-F238E27FC236}">
                  <a16:creationId xmlns:a16="http://schemas.microsoft.com/office/drawing/2014/main" id="{7217A352-DE29-4351-8E74-DC84040875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5738" y="38100"/>
              <a:ext cx="311150" cy="182563"/>
            </a:xfrm>
            <a:custGeom>
              <a:avLst/>
              <a:gdLst>
                <a:gd name="T0" fmla="*/ 183 w 408"/>
                <a:gd name="T1" fmla="*/ 52 h 239"/>
                <a:gd name="T2" fmla="*/ 179 w 408"/>
                <a:gd name="T3" fmla="*/ 40 h 239"/>
                <a:gd name="T4" fmla="*/ 191 w 408"/>
                <a:gd name="T5" fmla="*/ 23 h 239"/>
                <a:gd name="T6" fmla="*/ 204 w 408"/>
                <a:gd name="T7" fmla="*/ 19 h 239"/>
                <a:gd name="T8" fmla="*/ 218 w 408"/>
                <a:gd name="T9" fmla="*/ 23 h 239"/>
                <a:gd name="T10" fmla="*/ 229 w 408"/>
                <a:gd name="T11" fmla="*/ 40 h 239"/>
                <a:gd name="T12" fmla="*/ 225 w 408"/>
                <a:gd name="T13" fmla="*/ 52 h 239"/>
                <a:gd name="T14" fmla="*/ 214 w 408"/>
                <a:gd name="T15" fmla="*/ 70 h 239"/>
                <a:gd name="T16" fmla="*/ 247 w 408"/>
                <a:gd name="T17" fmla="*/ 188 h 239"/>
                <a:gd name="T18" fmla="*/ 204 w 408"/>
                <a:gd name="T19" fmla="*/ 229 h 239"/>
                <a:gd name="T20" fmla="*/ 161 w 408"/>
                <a:gd name="T21" fmla="*/ 188 h 239"/>
                <a:gd name="T22" fmla="*/ 194 w 408"/>
                <a:gd name="T23" fmla="*/ 70 h 239"/>
                <a:gd name="T24" fmla="*/ 183 w 408"/>
                <a:gd name="T25" fmla="*/ 52 h 239"/>
                <a:gd name="T26" fmla="*/ 314 w 408"/>
                <a:gd name="T27" fmla="*/ 239 h 239"/>
                <a:gd name="T28" fmla="*/ 314 w 408"/>
                <a:gd name="T29" fmla="*/ 162 h 239"/>
                <a:gd name="T30" fmla="*/ 336 w 408"/>
                <a:gd name="T31" fmla="*/ 239 h 239"/>
                <a:gd name="T32" fmla="*/ 408 w 408"/>
                <a:gd name="T33" fmla="*/ 239 h 239"/>
                <a:gd name="T34" fmla="*/ 369 w 408"/>
                <a:gd name="T35" fmla="*/ 66 h 239"/>
                <a:gd name="T36" fmla="*/ 292 w 408"/>
                <a:gd name="T37" fmla="*/ 0 h 239"/>
                <a:gd name="T38" fmla="*/ 204 w 408"/>
                <a:gd name="T39" fmla="*/ 0 h 239"/>
                <a:gd name="T40" fmla="*/ 116 w 408"/>
                <a:gd name="T41" fmla="*/ 0 h 239"/>
                <a:gd name="T42" fmla="*/ 39 w 408"/>
                <a:gd name="T43" fmla="*/ 66 h 239"/>
                <a:gd name="T44" fmla="*/ 0 w 408"/>
                <a:gd name="T45" fmla="*/ 239 h 239"/>
                <a:gd name="T46" fmla="*/ 73 w 408"/>
                <a:gd name="T47" fmla="*/ 239 h 239"/>
                <a:gd name="T48" fmla="*/ 94 w 408"/>
                <a:gd name="T49" fmla="*/ 162 h 239"/>
                <a:gd name="T50" fmla="*/ 94 w 408"/>
                <a:gd name="T51" fmla="*/ 239 h 239"/>
                <a:gd name="T52" fmla="*/ 314 w 408"/>
                <a:gd name="T53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08" h="239">
                  <a:moveTo>
                    <a:pt x="183" y="52"/>
                  </a:moveTo>
                  <a:cubicBezTo>
                    <a:pt x="178" y="48"/>
                    <a:pt x="176" y="45"/>
                    <a:pt x="179" y="40"/>
                  </a:cubicBezTo>
                  <a:cubicBezTo>
                    <a:pt x="182" y="35"/>
                    <a:pt x="186" y="29"/>
                    <a:pt x="191" y="23"/>
                  </a:cubicBezTo>
                  <a:cubicBezTo>
                    <a:pt x="193" y="20"/>
                    <a:pt x="198" y="19"/>
                    <a:pt x="204" y="19"/>
                  </a:cubicBezTo>
                  <a:cubicBezTo>
                    <a:pt x="210" y="19"/>
                    <a:pt x="216" y="20"/>
                    <a:pt x="218" y="23"/>
                  </a:cubicBezTo>
                  <a:cubicBezTo>
                    <a:pt x="222" y="29"/>
                    <a:pt x="226" y="35"/>
                    <a:pt x="229" y="40"/>
                  </a:cubicBezTo>
                  <a:cubicBezTo>
                    <a:pt x="233" y="45"/>
                    <a:pt x="230" y="48"/>
                    <a:pt x="225" y="52"/>
                  </a:cubicBezTo>
                  <a:cubicBezTo>
                    <a:pt x="216" y="58"/>
                    <a:pt x="212" y="62"/>
                    <a:pt x="214" y="70"/>
                  </a:cubicBezTo>
                  <a:cubicBezTo>
                    <a:pt x="218" y="86"/>
                    <a:pt x="244" y="176"/>
                    <a:pt x="247" y="188"/>
                  </a:cubicBezTo>
                  <a:cubicBezTo>
                    <a:pt x="240" y="199"/>
                    <a:pt x="211" y="229"/>
                    <a:pt x="204" y="229"/>
                  </a:cubicBezTo>
                  <a:cubicBezTo>
                    <a:pt x="197" y="229"/>
                    <a:pt x="168" y="199"/>
                    <a:pt x="161" y="188"/>
                  </a:cubicBezTo>
                  <a:cubicBezTo>
                    <a:pt x="164" y="176"/>
                    <a:pt x="191" y="86"/>
                    <a:pt x="194" y="70"/>
                  </a:cubicBezTo>
                  <a:cubicBezTo>
                    <a:pt x="196" y="62"/>
                    <a:pt x="192" y="58"/>
                    <a:pt x="183" y="52"/>
                  </a:cubicBezTo>
                  <a:close/>
                  <a:moveTo>
                    <a:pt x="314" y="239"/>
                  </a:moveTo>
                  <a:lnTo>
                    <a:pt x="314" y="162"/>
                  </a:lnTo>
                  <a:cubicBezTo>
                    <a:pt x="323" y="194"/>
                    <a:pt x="328" y="213"/>
                    <a:pt x="336" y="239"/>
                  </a:cubicBezTo>
                  <a:lnTo>
                    <a:pt x="408" y="239"/>
                  </a:lnTo>
                  <a:cubicBezTo>
                    <a:pt x="395" y="178"/>
                    <a:pt x="385" y="126"/>
                    <a:pt x="369" y="66"/>
                  </a:cubicBezTo>
                  <a:cubicBezTo>
                    <a:pt x="361" y="34"/>
                    <a:pt x="341" y="0"/>
                    <a:pt x="292" y="0"/>
                  </a:cubicBezTo>
                  <a:lnTo>
                    <a:pt x="204" y="0"/>
                  </a:lnTo>
                  <a:lnTo>
                    <a:pt x="116" y="0"/>
                  </a:lnTo>
                  <a:cubicBezTo>
                    <a:pt x="67" y="0"/>
                    <a:pt x="48" y="34"/>
                    <a:pt x="39" y="66"/>
                  </a:cubicBezTo>
                  <a:cubicBezTo>
                    <a:pt x="23" y="126"/>
                    <a:pt x="13" y="178"/>
                    <a:pt x="0" y="239"/>
                  </a:cubicBezTo>
                  <a:lnTo>
                    <a:pt x="73" y="239"/>
                  </a:lnTo>
                  <a:cubicBezTo>
                    <a:pt x="80" y="213"/>
                    <a:pt x="86" y="194"/>
                    <a:pt x="94" y="162"/>
                  </a:cubicBezTo>
                  <a:lnTo>
                    <a:pt x="94" y="239"/>
                  </a:lnTo>
                  <a:lnTo>
                    <a:pt x="314" y="239"/>
                  </a:ln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Oval 376">
              <a:extLst>
                <a:ext uri="{FF2B5EF4-FFF2-40B4-BE49-F238E27FC236}">
                  <a16:creationId xmlns:a16="http://schemas.microsoft.com/office/drawing/2014/main" id="{88439EC4-008C-42E0-BB8D-D2E927CC74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8288" y="-163512"/>
              <a:ext cx="146050" cy="179388"/>
            </a:xfrm>
            <a:prstGeom prst="ellipse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377">
              <a:extLst>
                <a:ext uri="{FF2B5EF4-FFF2-40B4-BE49-F238E27FC236}">
                  <a16:creationId xmlns:a16="http://schemas.microsoft.com/office/drawing/2014/main" id="{9FDE8F06-8277-4BD1-878D-DC25BAC72D5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86088" y="46038"/>
              <a:ext cx="428625" cy="584200"/>
            </a:xfrm>
            <a:custGeom>
              <a:avLst/>
              <a:gdLst>
                <a:gd name="T0" fmla="*/ 233 w 562"/>
                <a:gd name="T1" fmla="*/ 541 h 768"/>
                <a:gd name="T2" fmla="*/ 479 w 562"/>
                <a:gd name="T3" fmla="*/ 519 h 768"/>
                <a:gd name="T4" fmla="*/ 539 w 562"/>
                <a:gd name="T5" fmla="*/ 374 h 768"/>
                <a:gd name="T6" fmla="*/ 517 w 562"/>
                <a:gd name="T7" fmla="*/ 286 h 768"/>
                <a:gd name="T8" fmla="*/ 526 w 562"/>
                <a:gd name="T9" fmla="*/ 108 h 768"/>
                <a:gd name="T10" fmla="*/ 432 w 562"/>
                <a:gd name="T11" fmla="*/ 0 h 768"/>
                <a:gd name="T12" fmla="*/ 281 w 562"/>
                <a:gd name="T13" fmla="*/ 106 h 768"/>
                <a:gd name="T14" fmla="*/ 221 w 562"/>
                <a:gd name="T15" fmla="*/ 225 h 768"/>
                <a:gd name="T16" fmla="*/ 149 w 562"/>
                <a:gd name="T17" fmla="*/ 232 h 768"/>
                <a:gd name="T18" fmla="*/ 111 w 562"/>
                <a:gd name="T19" fmla="*/ 255 h 768"/>
                <a:gd name="T20" fmla="*/ 113 w 562"/>
                <a:gd name="T21" fmla="*/ 292 h 768"/>
                <a:gd name="T22" fmla="*/ 146 w 562"/>
                <a:gd name="T23" fmla="*/ 317 h 768"/>
                <a:gd name="T24" fmla="*/ 258 w 562"/>
                <a:gd name="T25" fmla="*/ 315 h 768"/>
                <a:gd name="T26" fmla="*/ 336 w 562"/>
                <a:gd name="T27" fmla="*/ 222 h 768"/>
                <a:gd name="T28" fmla="*/ 357 w 562"/>
                <a:gd name="T29" fmla="*/ 368 h 768"/>
                <a:gd name="T30" fmla="*/ 228 w 562"/>
                <a:gd name="T31" fmla="*/ 408 h 768"/>
                <a:gd name="T32" fmla="*/ 159 w 562"/>
                <a:gd name="T33" fmla="*/ 450 h 768"/>
                <a:gd name="T34" fmla="*/ 56 w 562"/>
                <a:gd name="T35" fmla="*/ 713 h 768"/>
                <a:gd name="T36" fmla="*/ 20 w 562"/>
                <a:gd name="T37" fmla="*/ 729 h 768"/>
                <a:gd name="T38" fmla="*/ 26 w 562"/>
                <a:gd name="T39" fmla="*/ 768 h 768"/>
                <a:gd name="T40" fmla="*/ 127 w 562"/>
                <a:gd name="T41" fmla="*/ 768 h 768"/>
                <a:gd name="T42" fmla="*/ 153 w 562"/>
                <a:gd name="T43" fmla="*/ 727 h 768"/>
                <a:gd name="T44" fmla="*/ 233 w 562"/>
                <a:gd name="T45" fmla="*/ 541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2" h="768">
                  <a:moveTo>
                    <a:pt x="233" y="541"/>
                  </a:moveTo>
                  <a:cubicBezTo>
                    <a:pt x="286" y="537"/>
                    <a:pt x="384" y="537"/>
                    <a:pt x="479" y="519"/>
                  </a:cubicBezTo>
                  <a:cubicBezTo>
                    <a:pt x="521" y="512"/>
                    <a:pt x="562" y="463"/>
                    <a:pt x="539" y="374"/>
                  </a:cubicBezTo>
                  <a:cubicBezTo>
                    <a:pt x="529" y="335"/>
                    <a:pt x="516" y="314"/>
                    <a:pt x="517" y="286"/>
                  </a:cubicBezTo>
                  <a:cubicBezTo>
                    <a:pt x="518" y="230"/>
                    <a:pt x="532" y="173"/>
                    <a:pt x="526" y="108"/>
                  </a:cubicBezTo>
                  <a:cubicBezTo>
                    <a:pt x="522" y="62"/>
                    <a:pt x="497" y="0"/>
                    <a:pt x="432" y="0"/>
                  </a:cubicBezTo>
                  <a:cubicBezTo>
                    <a:pt x="343" y="0"/>
                    <a:pt x="317" y="36"/>
                    <a:pt x="281" y="106"/>
                  </a:cubicBezTo>
                  <a:cubicBezTo>
                    <a:pt x="261" y="144"/>
                    <a:pt x="239" y="188"/>
                    <a:pt x="221" y="225"/>
                  </a:cubicBezTo>
                  <a:cubicBezTo>
                    <a:pt x="196" y="228"/>
                    <a:pt x="229" y="227"/>
                    <a:pt x="149" y="232"/>
                  </a:cubicBezTo>
                  <a:cubicBezTo>
                    <a:pt x="122" y="234"/>
                    <a:pt x="111" y="245"/>
                    <a:pt x="111" y="255"/>
                  </a:cubicBezTo>
                  <a:cubicBezTo>
                    <a:pt x="112" y="268"/>
                    <a:pt x="112" y="278"/>
                    <a:pt x="113" y="292"/>
                  </a:cubicBezTo>
                  <a:cubicBezTo>
                    <a:pt x="114" y="309"/>
                    <a:pt x="125" y="317"/>
                    <a:pt x="146" y="317"/>
                  </a:cubicBezTo>
                  <a:cubicBezTo>
                    <a:pt x="171" y="317"/>
                    <a:pt x="229" y="316"/>
                    <a:pt x="258" y="315"/>
                  </a:cubicBezTo>
                  <a:cubicBezTo>
                    <a:pt x="291" y="313"/>
                    <a:pt x="320" y="254"/>
                    <a:pt x="336" y="222"/>
                  </a:cubicBezTo>
                  <a:cubicBezTo>
                    <a:pt x="340" y="247"/>
                    <a:pt x="351" y="322"/>
                    <a:pt x="357" y="368"/>
                  </a:cubicBezTo>
                  <a:cubicBezTo>
                    <a:pt x="317" y="382"/>
                    <a:pt x="249" y="399"/>
                    <a:pt x="228" y="408"/>
                  </a:cubicBezTo>
                  <a:cubicBezTo>
                    <a:pt x="201" y="419"/>
                    <a:pt x="175" y="422"/>
                    <a:pt x="159" y="450"/>
                  </a:cubicBezTo>
                  <a:cubicBezTo>
                    <a:pt x="109" y="534"/>
                    <a:pt x="78" y="652"/>
                    <a:pt x="56" y="713"/>
                  </a:cubicBezTo>
                  <a:cubicBezTo>
                    <a:pt x="53" y="721"/>
                    <a:pt x="39" y="723"/>
                    <a:pt x="20" y="729"/>
                  </a:cubicBezTo>
                  <a:cubicBezTo>
                    <a:pt x="0" y="735"/>
                    <a:pt x="13" y="768"/>
                    <a:pt x="26" y="768"/>
                  </a:cubicBezTo>
                  <a:cubicBezTo>
                    <a:pt x="34" y="768"/>
                    <a:pt x="111" y="768"/>
                    <a:pt x="127" y="768"/>
                  </a:cubicBezTo>
                  <a:cubicBezTo>
                    <a:pt x="139" y="768"/>
                    <a:pt x="156" y="757"/>
                    <a:pt x="153" y="727"/>
                  </a:cubicBezTo>
                  <a:cubicBezTo>
                    <a:pt x="151" y="694"/>
                    <a:pt x="218" y="618"/>
                    <a:pt x="233" y="541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378">
              <a:extLst>
                <a:ext uri="{FF2B5EF4-FFF2-40B4-BE49-F238E27FC236}">
                  <a16:creationId xmlns:a16="http://schemas.microsoft.com/office/drawing/2014/main" id="{86EAE8CC-2E85-4D22-9976-D72025AEB2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5" y="-169862"/>
              <a:ext cx="163513" cy="193675"/>
            </a:xfrm>
            <a:custGeom>
              <a:avLst/>
              <a:gdLst>
                <a:gd name="T0" fmla="*/ 124 w 214"/>
                <a:gd name="T1" fmla="*/ 247 h 255"/>
                <a:gd name="T2" fmla="*/ 204 w 214"/>
                <a:gd name="T3" fmla="*/ 114 h 255"/>
                <a:gd name="T4" fmla="*/ 90 w 214"/>
                <a:gd name="T5" fmla="*/ 7 h 255"/>
                <a:gd name="T6" fmla="*/ 9 w 214"/>
                <a:gd name="T7" fmla="*/ 141 h 255"/>
                <a:gd name="T8" fmla="*/ 124 w 214"/>
                <a:gd name="T9" fmla="*/ 24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255">
                  <a:moveTo>
                    <a:pt x="124" y="247"/>
                  </a:moveTo>
                  <a:cubicBezTo>
                    <a:pt x="177" y="240"/>
                    <a:pt x="214" y="180"/>
                    <a:pt x="204" y="114"/>
                  </a:cubicBezTo>
                  <a:cubicBezTo>
                    <a:pt x="195" y="47"/>
                    <a:pt x="144" y="0"/>
                    <a:pt x="90" y="7"/>
                  </a:cubicBezTo>
                  <a:cubicBezTo>
                    <a:pt x="36" y="15"/>
                    <a:pt x="0" y="74"/>
                    <a:pt x="9" y="141"/>
                  </a:cubicBezTo>
                  <a:cubicBezTo>
                    <a:pt x="19" y="207"/>
                    <a:pt x="70" y="255"/>
                    <a:pt x="124" y="2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379">
              <a:extLst>
                <a:ext uri="{FF2B5EF4-FFF2-40B4-BE49-F238E27FC236}">
                  <a16:creationId xmlns:a16="http://schemas.microsoft.com/office/drawing/2014/main" id="{F9DA6BB6-A7C2-4E6B-97E8-B094FD3B0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151188" y="165100"/>
              <a:ext cx="334963" cy="508000"/>
            </a:xfrm>
            <a:custGeom>
              <a:avLst/>
              <a:gdLst>
                <a:gd name="T0" fmla="*/ 383 w 440"/>
                <a:gd name="T1" fmla="*/ 63 h 666"/>
                <a:gd name="T2" fmla="*/ 360 w 440"/>
                <a:gd name="T3" fmla="*/ 319 h 666"/>
                <a:gd name="T4" fmla="*/ 360 w 440"/>
                <a:gd name="T5" fmla="*/ 319 h 666"/>
                <a:gd name="T6" fmla="*/ 269 w 440"/>
                <a:gd name="T7" fmla="*/ 404 h 666"/>
                <a:gd name="T8" fmla="*/ 115 w 440"/>
                <a:gd name="T9" fmla="*/ 404 h 666"/>
                <a:gd name="T10" fmla="*/ 0 w 440"/>
                <a:gd name="T11" fmla="*/ 518 h 666"/>
                <a:gd name="T12" fmla="*/ 0 w 440"/>
                <a:gd name="T13" fmla="*/ 666 h 666"/>
                <a:gd name="T14" fmla="*/ 46 w 440"/>
                <a:gd name="T15" fmla="*/ 666 h 666"/>
                <a:gd name="T16" fmla="*/ 46 w 440"/>
                <a:gd name="T17" fmla="*/ 518 h 666"/>
                <a:gd name="T18" fmla="*/ 115 w 440"/>
                <a:gd name="T19" fmla="*/ 449 h 666"/>
                <a:gd name="T20" fmla="*/ 364 w 440"/>
                <a:gd name="T21" fmla="*/ 449 h 666"/>
                <a:gd name="T22" fmla="*/ 383 w 440"/>
                <a:gd name="T23" fmla="*/ 666 h 666"/>
                <a:gd name="T24" fmla="*/ 429 w 440"/>
                <a:gd name="T25" fmla="*/ 666 h 666"/>
                <a:gd name="T26" fmla="*/ 429 w 440"/>
                <a:gd name="T27" fmla="*/ 61 h 666"/>
                <a:gd name="T28" fmla="*/ 383 w 440"/>
                <a:gd name="T29" fmla="*/ 63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0" h="666">
                  <a:moveTo>
                    <a:pt x="383" y="63"/>
                  </a:moveTo>
                  <a:cubicBezTo>
                    <a:pt x="366" y="138"/>
                    <a:pt x="360" y="230"/>
                    <a:pt x="360" y="319"/>
                  </a:cubicBezTo>
                  <a:lnTo>
                    <a:pt x="360" y="319"/>
                  </a:lnTo>
                  <a:cubicBezTo>
                    <a:pt x="352" y="391"/>
                    <a:pt x="299" y="404"/>
                    <a:pt x="269" y="404"/>
                  </a:cubicBezTo>
                  <a:lnTo>
                    <a:pt x="115" y="404"/>
                  </a:lnTo>
                  <a:cubicBezTo>
                    <a:pt x="51" y="404"/>
                    <a:pt x="0" y="455"/>
                    <a:pt x="0" y="518"/>
                  </a:cubicBezTo>
                  <a:lnTo>
                    <a:pt x="0" y="666"/>
                  </a:lnTo>
                  <a:lnTo>
                    <a:pt x="46" y="666"/>
                  </a:lnTo>
                  <a:lnTo>
                    <a:pt x="46" y="518"/>
                  </a:lnTo>
                  <a:cubicBezTo>
                    <a:pt x="46" y="480"/>
                    <a:pt x="77" y="449"/>
                    <a:pt x="115" y="449"/>
                  </a:cubicBezTo>
                  <a:lnTo>
                    <a:pt x="364" y="449"/>
                  </a:lnTo>
                  <a:cubicBezTo>
                    <a:pt x="370" y="568"/>
                    <a:pt x="383" y="666"/>
                    <a:pt x="383" y="666"/>
                  </a:cubicBezTo>
                  <a:lnTo>
                    <a:pt x="429" y="666"/>
                  </a:lnTo>
                  <a:cubicBezTo>
                    <a:pt x="429" y="666"/>
                    <a:pt x="373" y="295"/>
                    <a:pt x="429" y="61"/>
                  </a:cubicBezTo>
                  <a:cubicBezTo>
                    <a:pt x="440" y="16"/>
                    <a:pt x="398" y="0"/>
                    <a:pt x="383" y="63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380">
              <a:extLst>
                <a:ext uri="{FF2B5EF4-FFF2-40B4-BE49-F238E27FC236}">
                  <a16:creationId xmlns:a16="http://schemas.microsoft.com/office/drawing/2014/main" id="{56CC8D8E-3EC7-4C80-9BAC-483A3EA51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2313" y="46038"/>
              <a:ext cx="428625" cy="584200"/>
            </a:xfrm>
            <a:custGeom>
              <a:avLst/>
              <a:gdLst>
                <a:gd name="T0" fmla="*/ 542 w 561"/>
                <a:gd name="T1" fmla="*/ 729 h 768"/>
                <a:gd name="T2" fmla="*/ 505 w 561"/>
                <a:gd name="T3" fmla="*/ 713 h 768"/>
                <a:gd name="T4" fmla="*/ 402 w 561"/>
                <a:gd name="T5" fmla="*/ 450 h 768"/>
                <a:gd name="T6" fmla="*/ 334 w 561"/>
                <a:gd name="T7" fmla="*/ 408 h 768"/>
                <a:gd name="T8" fmla="*/ 204 w 561"/>
                <a:gd name="T9" fmla="*/ 368 h 768"/>
                <a:gd name="T10" fmla="*/ 225 w 561"/>
                <a:gd name="T11" fmla="*/ 222 h 768"/>
                <a:gd name="T12" fmla="*/ 303 w 561"/>
                <a:gd name="T13" fmla="*/ 315 h 768"/>
                <a:gd name="T14" fmla="*/ 416 w 561"/>
                <a:gd name="T15" fmla="*/ 317 h 768"/>
                <a:gd name="T16" fmla="*/ 448 w 561"/>
                <a:gd name="T17" fmla="*/ 292 h 768"/>
                <a:gd name="T18" fmla="*/ 450 w 561"/>
                <a:gd name="T19" fmla="*/ 255 h 768"/>
                <a:gd name="T20" fmla="*/ 412 w 561"/>
                <a:gd name="T21" fmla="*/ 232 h 768"/>
                <a:gd name="T22" fmla="*/ 340 w 561"/>
                <a:gd name="T23" fmla="*/ 225 h 768"/>
                <a:gd name="T24" fmla="*/ 281 w 561"/>
                <a:gd name="T25" fmla="*/ 106 h 768"/>
                <a:gd name="T26" fmla="*/ 130 w 561"/>
                <a:gd name="T27" fmla="*/ 0 h 768"/>
                <a:gd name="T28" fmla="*/ 35 w 561"/>
                <a:gd name="T29" fmla="*/ 108 h 768"/>
                <a:gd name="T30" fmla="*/ 45 w 561"/>
                <a:gd name="T31" fmla="*/ 286 h 768"/>
                <a:gd name="T32" fmla="*/ 22 w 561"/>
                <a:gd name="T33" fmla="*/ 374 h 768"/>
                <a:gd name="T34" fmla="*/ 82 w 561"/>
                <a:gd name="T35" fmla="*/ 519 h 768"/>
                <a:gd name="T36" fmla="*/ 328 w 561"/>
                <a:gd name="T37" fmla="*/ 541 h 768"/>
                <a:gd name="T38" fmla="*/ 408 w 561"/>
                <a:gd name="T39" fmla="*/ 727 h 768"/>
                <a:gd name="T40" fmla="*/ 434 w 561"/>
                <a:gd name="T41" fmla="*/ 768 h 768"/>
                <a:gd name="T42" fmla="*/ 535 w 561"/>
                <a:gd name="T43" fmla="*/ 768 h 768"/>
                <a:gd name="T44" fmla="*/ 542 w 561"/>
                <a:gd name="T45" fmla="*/ 729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1" h="768">
                  <a:moveTo>
                    <a:pt x="542" y="729"/>
                  </a:moveTo>
                  <a:cubicBezTo>
                    <a:pt x="522" y="723"/>
                    <a:pt x="508" y="721"/>
                    <a:pt x="505" y="713"/>
                  </a:cubicBezTo>
                  <a:cubicBezTo>
                    <a:pt x="483" y="652"/>
                    <a:pt x="453" y="534"/>
                    <a:pt x="402" y="450"/>
                  </a:cubicBezTo>
                  <a:cubicBezTo>
                    <a:pt x="386" y="422"/>
                    <a:pt x="361" y="419"/>
                    <a:pt x="334" y="408"/>
                  </a:cubicBezTo>
                  <a:cubicBezTo>
                    <a:pt x="313" y="399"/>
                    <a:pt x="244" y="382"/>
                    <a:pt x="204" y="368"/>
                  </a:cubicBezTo>
                  <a:cubicBezTo>
                    <a:pt x="211" y="322"/>
                    <a:pt x="222" y="247"/>
                    <a:pt x="225" y="222"/>
                  </a:cubicBezTo>
                  <a:cubicBezTo>
                    <a:pt x="241" y="254"/>
                    <a:pt x="270" y="313"/>
                    <a:pt x="303" y="315"/>
                  </a:cubicBezTo>
                  <a:cubicBezTo>
                    <a:pt x="332" y="316"/>
                    <a:pt x="390" y="317"/>
                    <a:pt x="416" y="317"/>
                  </a:cubicBezTo>
                  <a:cubicBezTo>
                    <a:pt x="436" y="317"/>
                    <a:pt x="447" y="309"/>
                    <a:pt x="448" y="292"/>
                  </a:cubicBezTo>
                  <a:cubicBezTo>
                    <a:pt x="449" y="278"/>
                    <a:pt x="449" y="268"/>
                    <a:pt x="450" y="255"/>
                  </a:cubicBezTo>
                  <a:cubicBezTo>
                    <a:pt x="450" y="245"/>
                    <a:pt x="440" y="234"/>
                    <a:pt x="412" y="232"/>
                  </a:cubicBezTo>
                  <a:cubicBezTo>
                    <a:pt x="333" y="227"/>
                    <a:pt x="365" y="228"/>
                    <a:pt x="340" y="225"/>
                  </a:cubicBezTo>
                  <a:cubicBezTo>
                    <a:pt x="323" y="188"/>
                    <a:pt x="301" y="144"/>
                    <a:pt x="281" y="106"/>
                  </a:cubicBezTo>
                  <a:cubicBezTo>
                    <a:pt x="244" y="36"/>
                    <a:pt x="218" y="0"/>
                    <a:pt x="130" y="0"/>
                  </a:cubicBezTo>
                  <a:cubicBezTo>
                    <a:pt x="65" y="0"/>
                    <a:pt x="39" y="62"/>
                    <a:pt x="35" y="108"/>
                  </a:cubicBezTo>
                  <a:cubicBezTo>
                    <a:pt x="30" y="173"/>
                    <a:pt x="43" y="230"/>
                    <a:pt x="45" y="286"/>
                  </a:cubicBezTo>
                  <a:cubicBezTo>
                    <a:pt x="45" y="314"/>
                    <a:pt x="32" y="335"/>
                    <a:pt x="22" y="374"/>
                  </a:cubicBezTo>
                  <a:cubicBezTo>
                    <a:pt x="0" y="463"/>
                    <a:pt x="41" y="512"/>
                    <a:pt x="82" y="519"/>
                  </a:cubicBezTo>
                  <a:cubicBezTo>
                    <a:pt x="178" y="537"/>
                    <a:pt x="275" y="537"/>
                    <a:pt x="328" y="541"/>
                  </a:cubicBezTo>
                  <a:cubicBezTo>
                    <a:pt x="344" y="618"/>
                    <a:pt x="411" y="694"/>
                    <a:pt x="408" y="727"/>
                  </a:cubicBezTo>
                  <a:cubicBezTo>
                    <a:pt x="406" y="757"/>
                    <a:pt x="422" y="768"/>
                    <a:pt x="434" y="768"/>
                  </a:cubicBezTo>
                  <a:cubicBezTo>
                    <a:pt x="450" y="768"/>
                    <a:pt x="528" y="768"/>
                    <a:pt x="535" y="768"/>
                  </a:cubicBezTo>
                  <a:cubicBezTo>
                    <a:pt x="548" y="768"/>
                    <a:pt x="561" y="735"/>
                    <a:pt x="542" y="729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Freeform 381">
              <a:extLst>
                <a:ext uri="{FF2B5EF4-FFF2-40B4-BE49-F238E27FC236}">
                  <a16:creationId xmlns:a16="http://schemas.microsoft.com/office/drawing/2014/main" id="{661C7EF5-6864-402A-B1B7-5539437D10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3588" y="-169862"/>
              <a:ext cx="163513" cy="193675"/>
            </a:xfrm>
            <a:custGeom>
              <a:avLst/>
              <a:gdLst>
                <a:gd name="T0" fmla="*/ 90 w 213"/>
                <a:gd name="T1" fmla="*/ 247 h 255"/>
                <a:gd name="T2" fmla="*/ 204 w 213"/>
                <a:gd name="T3" fmla="*/ 141 h 255"/>
                <a:gd name="T4" fmla="*/ 123 w 213"/>
                <a:gd name="T5" fmla="*/ 7 h 255"/>
                <a:gd name="T6" fmla="*/ 9 w 213"/>
                <a:gd name="T7" fmla="*/ 114 h 255"/>
                <a:gd name="T8" fmla="*/ 90 w 213"/>
                <a:gd name="T9" fmla="*/ 24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" h="255">
                  <a:moveTo>
                    <a:pt x="90" y="247"/>
                  </a:moveTo>
                  <a:cubicBezTo>
                    <a:pt x="144" y="255"/>
                    <a:pt x="195" y="207"/>
                    <a:pt x="204" y="141"/>
                  </a:cubicBezTo>
                  <a:cubicBezTo>
                    <a:pt x="213" y="74"/>
                    <a:pt x="177" y="15"/>
                    <a:pt x="123" y="7"/>
                  </a:cubicBezTo>
                  <a:cubicBezTo>
                    <a:pt x="70" y="0"/>
                    <a:pt x="18" y="47"/>
                    <a:pt x="9" y="114"/>
                  </a:cubicBezTo>
                  <a:cubicBezTo>
                    <a:pt x="0" y="180"/>
                    <a:pt x="36" y="240"/>
                    <a:pt x="90" y="24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Freeform 382">
              <a:extLst>
                <a:ext uri="{FF2B5EF4-FFF2-40B4-BE49-F238E27FC236}">
                  <a16:creationId xmlns:a16="http://schemas.microsoft.com/office/drawing/2014/main" id="{E1FC0423-E2AA-4098-8FF9-515D03F0AE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4263" y="241300"/>
              <a:ext cx="701675" cy="427038"/>
            </a:xfrm>
            <a:custGeom>
              <a:avLst/>
              <a:gdLst>
                <a:gd name="T0" fmla="*/ 811 w 920"/>
                <a:gd name="T1" fmla="*/ 533 h 561"/>
                <a:gd name="T2" fmla="*/ 786 w 920"/>
                <a:gd name="T3" fmla="*/ 533 h 561"/>
                <a:gd name="T4" fmla="*/ 858 w 920"/>
                <a:gd name="T5" fmla="*/ 46 h 561"/>
                <a:gd name="T6" fmla="*/ 897 w 920"/>
                <a:gd name="T7" fmla="*/ 46 h 561"/>
                <a:gd name="T8" fmla="*/ 920 w 920"/>
                <a:gd name="T9" fmla="*/ 23 h 561"/>
                <a:gd name="T10" fmla="*/ 897 w 920"/>
                <a:gd name="T11" fmla="*/ 0 h 561"/>
                <a:gd name="T12" fmla="*/ 23 w 920"/>
                <a:gd name="T13" fmla="*/ 0 h 561"/>
                <a:gd name="T14" fmla="*/ 0 w 920"/>
                <a:gd name="T15" fmla="*/ 23 h 561"/>
                <a:gd name="T16" fmla="*/ 23 w 920"/>
                <a:gd name="T17" fmla="*/ 46 h 561"/>
                <a:gd name="T18" fmla="*/ 62 w 920"/>
                <a:gd name="T19" fmla="*/ 46 h 561"/>
                <a:gd name="T20" fmla="*/ 134 w 920"/>
                <a:gd name="T21" fmla="*/ 533 h 561"/>
                <a:gd name="T22" fmla="*/ 109 w 920"/>
                <a:gd name="T23" fmla="*/ 533 h 561"/>
                <a:gd name="T24" fmla="*/ 95 w 920"/>
                <a:gd name="T25" fmla="*/ 547 h 561"/>
                <a:gd name="T26" fmla="*/ 109 w 920"/>
                <a:gd name="T27" fmla="*/ 561 h 561"/>
                <a:gd name="T28" fmla="*/ 811 w 920"/>
                <a:gd name="T29" fmla="*/ 561 h 561"/>
                <a:gd name="T30" fmla="*/ 826 w 920"/>
                <a:gd name="T31" fmla="*/ 547 h 561"/>
                <a:gd name="T32" fmla="*/ 811 w 920"/>
                <a:gd name="T33" fmla="*/ 533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0" h="561">
                  <a:moveTo>
                    <a:pt x="811" y="533"/>
                  </a:moveTo>
                  <a:lnTo>
                    <a:pt x="786" y="533"/>
                  </a:lnTo>
                  <a:lnTo>
                    <a:pt x="858" y="46"/>
                  </a:lnTo>
                  <a:lnTo>
                    <a:pt x="897" y="46"/>
                  </a:lnTo>
                  <a:cubicBezTo>
                    <a:pt x="910" y="46"/>
                    <a:pt x="920" y="36"/>
                    <a:pt x="920" y="23"/>
                  </a:cubicBezTo>
                  <a:cubicBezTo>
                    <a:pt x="920" y="11"/>
                    <a:pt x="910" y="0"/>
                    <a:pt x="897" y="0"/>
                  </a:cubicBezTo>
                  <a:lnTo>
                    <a:pt x="23" y="0"/>
                  </a:lnTo>
                  <a:cubicBezTo>
                    <a:pt x="10" y="0"/>
                    <a:pt x="0" y="11"/>
                    <a:pt x="0" y="23"/>
                  </a:cubicBezTo>
                  <a:cubicBezTo>
                    <a:pt x="0" y="36"/>
                    <a:pt x="10" y="46"/>
                    <a:pt x="23" y="46"/>
                  </a:cubicBezTo>
                  <a:lnTo>
                    <a:pt x="62" y="46"/>
                  </a:lnTo>
                  <a:lnTo>
                    <a:pt x="134" y="533"/>
                  </a:lnTo>
                  <a:lnTo>
                    <a:pt x="109" y="533"/>
                  </a:lnTo>
                  <a:cubicBezTo>
                    <a:pt x="101" y="533"/>
                    <a:pt x="95" y="539"/>
                    <a:pt x="95" y="547"/>
                  </a:cubicBezTo>
                  <a:cubicBezTo>
                    <a:pt x="95" y="555"/>
                    <a:pt x="101" y="561"/>
                    <a:pt x="109" y="561"/>
                  </a:cubicBezTo>
                  <a:lnTo>
                    <a:pt x="811" y="561"/>
                  </a:lnTo>
                  <a:cubicBezTo>
                    <a:pt x="819" y="561"/>
                    <a:pt x="826" y="555"/>
                    <a:pt x="826" y="547"/>
                  </a:cubicBezTo>
                  <a:cubicBezTo>
                    <a:pt x="826" y="539"/>
                    <a:pt x="819" y="533"/>
                    <a:pt x="811" y="53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Freeform 383">
              <a:extLst>
                <a:ext uri="{FF2B5EF4-FFF2-40B4-BE49-F238E27FC236}">
                  <a16:creationId xmlns:a16="http://schemas.microsoft.com/office/drawing/2014/main" id="{E627E8D2-2014-44AE-A6DF-711BFB6D1B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165100"/>
              <a:ext cx="334963" cy="508000"/>
            </a:xfrm>
            <a:custGeom>
              <a:avLst/>
              <a:gdLst>
                <a:gd name="T0" fmla="*/ 326 w 440"/>
                <a:gd name="T1" fmla="*/ 404 h 666"/>
                <a:gd name="T2" fmla="*/ 172 w 440"/>
                <a:gd name="T3" fmla="*/ 404 h 666"/>
                <a:gd name="T4" fmla="*/ 81 w 440"/>
                <a:gd name="T5" fmla="*/ 319 h 666"/>
                <a:gd name="T6" fmla="*/ 81 w 440"/>
                <a:gd name="T7" fmla="*/ 319 h 666"/>
                <a:gd name="T8" fmla="*/ 57 w 440"/>
                <a:gd name="T9" fmla="*/ 63 h 666"/>
                <a:gd name="T10" fmla="*/ 11 w 440"/>
                <a:gd name="T11" fmla="*/ 61 h 666"/>
                <a:gd name="T12" fmla="*/ 10 w 440"/>
                <a:gd name="T13" fmla="*/ 666 h 666"/>
                <a:gd name="T14" fmla="*/ 56 w 440"/>
                <a:gd name="T15" fmla="*/ 666 h 666"/>
                <a:gd name="T16" fmla="*/ 77 w 440"/>
                <a:gd name="T17" fmla="*/ 449 h 666"/>
                <a:gd name="T18" fmla="*/ 326 w 440"/>
                <a:gd name="T19" fmla="*/ 449 h 666"/>
                <a:gd name="T20" fmla="*/ 395 w 440"/>
                <a:gd name="T21" fmla="*/ 518 h 666"/>
                <a:gd name="T22" fmla="*/ 394 w 440"/>
                <a:gd name="T23" fmla="*/ 666 h 666"/>
                <a:gd name="T24" fmla="*/ 440 w 440"/>
                <a:gd name="T25" fmla="*/ 666 h 666"/>
                <a:gd name="T26" fmla="*/ 440 w 440"/>
                <a:gd name="T27" fmla="*/ 518 h 666"/>
                <a:gd name="T28" fmla="*/ 326 w 440"/>
                <a:gd name="T29" fmla="*/ 404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40" h="666">
                  <a:moveTo>
                    <a:pt x="326" y="404"/>
                  </a:moveTo>
                  <a:lnTo>
                    <a:pt x="172" y="404"/>
                  </a:lnTo>
                  <a:cubicBezTo>
                    <a:pt x="141" y="404"/>
                    <a:pt x="88" y="391"/>
                    <a:pt x="81" y="319"/>
                  </a:cubicBezTo>
                  <a:lnTo>
                    <a:pt x="81" y="319"/>
                  </a:lnTo>
                  <a:cubicBezTo>
                    <a:pt x="81" y="230"/>
                    <a:pt x="75" y="138"/>
                    <a:pt x="57" y="63"/>
                  </a:cubicBezTo>
                  <a:cubicBezTo>
                    <a:pt x="42" y="0"/>
                    <a:pt x="0" y="16"/>
                    <a:pt x="11" y="61"/>
                  </a:cubicBezTo>
                  <a:cubicBezTo>
                    <a:pt x="68" y="295"/>
                    <a:pt x="10" y="666"/>
                    <a:pt x="10" y="666"/>
                  </a:cubicBezTo>
                  <a:lnTo>
                    <a:pt x="56" y="666"/>
                  </a:lnTo>
                  <a:cubicBezTo>
                    <a:pt x="56" y="666"/>
                    <a:pt x="70" y="568"/>
                    <a:pt x="77" y="449"/>
                  </a:cubicBezTo>
                  <a:lnTo>
                    <a:pt x="326" y="449"/>
                  </a:lnTo>
                  <a:cubicBezTo>
                    <a:pt x="364" y="449"/>
                    <a:pt x="395" y="480"/>
                    <a:pt x="395" y="518"/>
                  </a:cubicBezTo>
                  <a:lnTo>
                    <a:pt x="394" y="666"/>
                  </a:lnTo>
                  <a:lnTo>
                    <a:pt x="440" y="666"/>
                  </a:lnTo>
                  <a:lnTo>
                    <a:pt x="440" y="518"/>
                  </a:lnTo>
                  <a:cubicBezTo>
                    <a:pt x="440" y="455"/>
                    <a:pt x="389" y="404"/>
                    <a:pt x="326" y="404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4" name="Maintenanc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E5A3BBF-272F-46A8-BE96-4AC9F99B555F}"/>
              </a:ext>
            </a:extLst>
          </p:cNvPr>
          <p:cNvGrpSpPr>
            <a:grpSpLocks noChangeAspect="1"/>
          </p:cNvGrpSpPr>
          <p:nvPr>
            <p:custDataLst>
              <p:tags r:id="rId9"/>
            </p:custDataLst>
          </p:nvPr>
        </p:nvGrpSpPr>
        <p:grpSpPr>
          <a:xfrm>
            <a:off x="5866983" y="5216036"/>
            <a:ext cx="412687" cy="446196"/>
            <a:chOff x="5695956" y="285752"/>
            <a:chExt cx="742951" cy="803276"/>
          </a:xfrm>
          <a:solidFill>
            <a:srgbClr val="C73FF1"/>
          </a:solidFill>
        </p:grpSpPr>
        <p:sp>
          <p:nvSpPr>
            <p:cNvPr id="285" name="Freeform 619">
              <a:extLst>
                <a:ext uri="{FF2B5EF4-FFF2-40B4-BE49-F238E27FC236}">
                  <a16:creationId xmlns:a16="http://schemas.microsoft.com/office/drawing/2014/main" id="{A4F6A95A-1BB9-4149-8244-2E46065B9A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94381" y="285752"/>
              <a:ext cx="185738" cy="241300"/>
            </a:xfrm>
            <a:custGeom>
              <a:avLst/>
              <a:gdLst>
                <a:gd name="T0" fmla="*/ 175 w 261"/>
                <a:gd name="T1" fmla="*/ 224 h 339"/>
                <a:gd name="T2" fmla="*/ 178 w 261"/>
                <a:gd name="T3" fmla="*/ 224 h 339"/>
                <a:gd name="T4" fmla="*/ 181 w 261"/>
                <a:gd name="T5" fmla="*/ 226 h 339"/>
                <a:gd name="T6" fmla="*/ 190 w 261"/>
                <a:gd name="T7" fmla="*/ 243 h 339"/>
                <a:gd name="T8" fmla="*/ 188 w 261"/>
                <a:gd name="T9" fmla="*/ 249 h 339"/>
                <a:gd name="T10" fmla="*/ 134 w 261"/>
                <a:gd name="T11" fmla="*/ 278 h 339"/>
                <a:gd name="T12" fmla="*/ 128 w 261"/>
                <a:gd name="T13" fmla="*/ 276 h 339"/>
                <a:gd name="T14" fmla="*/ 92 w 261"/>
                <a:gd name="T15" fmla="*/ 205 h 339"/>
                <a:gd name="T16" fmla="*/ 94 w 261"/>
                <a:gd name="T17" fmla="*/ 200 h 339"/>
                <a:gd name="T18" fmla="*/ 147 w 261"/>
                <a:gd name="T19" fmla="*/ 171 h 339"/>
                <a:gd name="T20" fmla="*/ 151 w 261"/>
                <a:gd name="T21" fmla="*/ 171 h 339"/>
                <a:gd name="T22" fmla="*/ 153 w 261"/>
                <a:gd name="T23" fmla="*/ 173 h 339"/>
                <a:gd name="T24" fmla="*/ 162 w 261"/>
                <a:gd name="T25" fmla="*/ 191 h 339"/>
                <a:gd name="T26" fmla="*/ 161 w 261"/>
                <a:gd name="T27" fmla="*/ 197 h 339"/>
                <a:gd name="T28" fmla="*/ 131 w 261"/>
                <a:gd name="T29" fmla="*/ 212 h 339"/>
                <a:gd name="T30" fmla="*/ 145 w 261"/>
                <a:gd name="T31" fmla="*/ 240 h 339"/>
                <a:gd name="T32" fmla="*/ 175 w 261"/>
                <a:gd name="T33" fmla="*/ 224 h 339"/>
                <a:gd name="T34" fmla="*/ 97 w 261"/>
                <a:gd name="T35" fmla="*/ 55 h 339"/>
                <a:gd name="T36" fmla="*/ 60 w 261"/>
                <a:gd name="T37" fmla="*/ 266 h 339"/>
                <a:gd name="T38" fmla="*/ 57 w 261"/>
                <a:gd name="T39" fmla="*/ 270 h 339"/>
                <a:gd name="T40" fmla="*/ 88 w 261"/>
                <a:gd name="T41" fmla="*/ 286 h 339"/>
                <a:gd name="T42" fmla="*/ 137 w 261"/>
                <a:gd name="T43" fmla="*/ 339 h 339"/>
                <a:gd name="T44" fmla="*/ 145 w 261"/>
                <a:gd name="T45" fmla="*/ 322 h 339"/>
                <a:gd name="T46" fmla="*/ 255 w 261"/>
                <a:gd name="T47" fmla="*/ 272 h 339"/>
                <a:gd name="T48" fmla="*/ 174 w 261"/>
                <a:gd name="T49" fmla="*/ 118 h 339"/>
                <a:gd name="T50" fmla="*/ 261 w 261"/>
                <a:gd name="T51" fmla="*/ 72 h 339"/>
                <a:gd name="T52" fmla="*/ 97 w 261"/>
                <a:gd name="T53" fmla="*/ 55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61" h="339">
                  <a:moveTo>
                    <a:pt x="175" y="224"/>
                  </a:moveTo>
                  <a:cubicBezTo>
                    <a:pt x="176" y="224"/>
                    <a:pt x="177" y="224"/>
                    <a:pt x="178" y="224"/>
                  </a:cubicBezTo>
                  <a:cubicBezTo>
                    <a:pt x="179" y="225"/>
                    <a:pt x="180" y="225"/>
                    <a:pt x="181" y="226"/>
                  </a:cubicBezTo>
                  <a:lnTo>
                    <a:pt x="190" y="243"/>
                  </a:lnTo>
                  <a:cubicBezTo>
                    <a:pt x="191" y="245"/>
                    <a:pt x="190" y="248"/>
                    <a:pt x="188" y="249"/>
                  </a:cubicBezTo>
                  <a:lnTo>
                    <a:pt x="134" y="278"/>
                  </a:lnTo>
                  <a:cubicBezTo>
                    <a:pt x="130" y="279"/>
                    <a:pt x="129" y="277"/>
                    <a:pt x="128" y="276"/>
                  </a:cubicBezTo>
                  <a:lnTo>
                    <a:pt x="92" y="205"/>
                  </a:lnTo>
                  <a:cubicBezTo>
                    <a:pt x="91" y="203"/>
                    <a:pt x="92" y="201"/>
                    <a:pt x="94" y="200"/>
                  </a:cubicBezTo>
                  <a:lnTo>
                    <a:pt x="147" y="171"/>
                  </a:lnTo>
                  <a:cubicBezTo>
                    <a:pt x="148" y="171"/>
                    <a:pt x="150" y="171"/>
                    <a:pt x="151" y="171"/>
                  </a:cubicBezTo>
                  <a:cubicBezTo>
                    <a:pt x="152" y="171"/>
                    <a:pt x="153" y="172"/>
                    <a:pt x="153" y="173"/>
                  </a:cubicBezTo>
                  <a:lnTo>
                    <a:pt x="162" y="191"/>
                  </a:lnTo>
                  <a:cubicBezTo>
                    <a:pt x="164" y="193"/>
                    <a:pt x="163" y="196"/>
                    <a:pt x="161" y="197"/>
                  </a:cubicBezTo>
                  <a:lnTo>
                    <a:pt x="131" y="212"/>
                  </a:lnTo>
                  <a:lnTo>
                    <a:pt x="145" y="240"/>
                  </a:lnTo>
                  <a:lnTo>
                    <a:pt x="175" y="224"/>
                  </a:lnTo>
                  <a:close/>
                  <a:moveTo>
                    <a:pt x="97" y="55"/>
                  </a:moveTo>
                  <a:cubicBezTo>
                    <a:pt x="0" y="106"/>
                    <a:pt x="64" y="217"/>
                    <a:pt x="60" y="266"/>
                  </a:cubicBezTo>
                  <a:lnTo>
                    <a:pt x="57" y="270"/>
                  </a:lnTo>
                  <a:cubicBezTo>
                    <a:pt x="69" y="275"/>
                    <a:pt x="79" y="281"/>
                    <a:pt x="88" y="286"/>
                  </a:cubicBezTo>
                  <a:cubicBezTo>
                    <a:pt x="109" y="299"/>
                    <a:pt x="125" y="317"/>
                    <a:pt x="137" y="339"/>
                  </a:cubicBezTo>
                  <a:lnTo>
                    <a:pt x="145" y="322"/>
                  </a:lnTo>
                  <a:cubicBezTo>
                    <a:pt x="198" y="295"/>
                    <a:pt x="255" y="272"/>
                    <a:pt x="255" y="272"/>
                  </a:cubicBezTo>
                  <a:lnTo>
                    <a:pt x="174" y="118"/>
                  </a:lnTo>
                  <a:lnTo>
                    <a:pt x="261" y="72"/>
                  </a:lnTo>
                  <a:cubicBezTo>
                    <a:pt x="261" y="72"/>
                    <a:pt x="201" y="0"/>
                    <a:pt x="97" y="5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Freeform 620">
              <a:extLst>
                <a:ext uri="{FF2B5EF4-FFF2-40B4-BE49-F238E27FC236}">
                  <a16:creationId xmlns:a16="http://schemas.microsoft.com/office/drawing/2014/main" id="{6BE0D99B-4B1C-4D7B-9DC0-DFAD24F5F9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1069" y="385765"/>
              <a:ext cx="52388" cy="63500"/>
            </a:xfrm>
            <a:custGeom>
              <a:avLst/>
              <a:gdLst>
                <a:gd name="T0" fmla="*/ 27 w 72"/>
                <a:gd name="T1" fmla="*/ 89 h 89"/>
                <a:gd name="T2" fmla="*/ 71 w 72"/>
                <a:gd name="T3" fmla="*/ 0 h 89"/>
                <a:gd name="T4" fmla="*/ 0 w 72"/>
                <a:gd name="T5" fmla="*/ 38 h 89"/>
                <a:gd name="T6" fmla="*/ 27 w 72"/>
                <a:gd name="T7" fmla="*/ 89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2" h="89">
                  <a:moveTo>
                    <a:pt x="27" y="89"/>
                  </a:moveTo>
                  <a:cubicBezTo>
                    <a:pt x="27" y="89"/>
                    <a:pt x="72" y="60"/>
                    <a:pt x="71" y="0"/>
                  </a:cubicBezTo>
                  <a:lnTo>
                    <a:pt x="0" y="38"/>
                  </a:lnTo>
                  <a:lnTo>
                    <a:pt x="27" y="89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Freeform 621">
              <a:extLst>
                <a:ext uri="{FF2B5EF4-FFF2-40B4-BE49-F238E27FC236}">
                  <a16:creationId xmlns:a16="http://schemas.microsoft.com/office/drawing/2014/main" id="{AF92AB2B-1DCE-4005-8DFB-49805AEF3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95956" y="619128"/>
              <a:ext cx="742951" cy="469900"/>
            </a:xfrm>
            <a:custGeom>
              <a:avLst/>
              <a:gdLst>
                <a:gd name="T0" fmla="*/ 129 w 1047"/>
                <a:gd name="T1" fmla="*/ 158 h 659"/>
                <a:gd name="T2" fmla="*/ 148 w 1047"/>
                <a:gd name="T3" fmla="*/ 119 h 659"/>
                <a:gd name="T4" fmla="*/ 476 w 1047"/>
                <a:gd name="T5" fmla="*/ 392 h 659"/>
                <a:gd name="T6" fmla="*/ 431 w 1047"/>
                <a:gd name="T7" fmla="*/ 659 h 659"/>
                <a:gd name="T8" fmla="*/ 770 w 1047"/>
                <a:gd name="T9" fmla="*/ 659 h 659"/>
                <a:gd name="T10" fmla="*/ 813 w 1047"/>
                <a:gd name="T11" fmla="*/ 504 h 659"/>
                <a:gd name="T12" fmla="*/ 846 w 1047"/>
                <a:gd name="T13" fmla="*/ 504 h 659"/>
                <a:gd name="T14" fmla="*/ 825 w 1047"/>
                <a:gd name="T15" fmla="*/ 659 h 659"/>
                <a:gd name="T16" fmla="*/ 999 w 1047"/>
                <a:gd name="T17" fmla="*/ 659 h 659"/>
                <a:gd name="T18" fmla="*/ 1031 w 1047"/>
                <a:gd name="T19" fmla="*/ 478 h 659"/>
                <a:gd name="T20" fmla="*/ 826 w 1047"/>
                <a:gd name="T21" fmla="*/ 226 h 659"/>
                <a:gd name="T22" fmla="*/ 657 w 1047"/>
                <a:gd name="T23" fmla="*/ 307 h 659"/>
                <a:gd name="T24" fmla="*/ 575 w 1047"/>
                <a:gd name="T25" fmla="*/ 195 h 659"/>
                <a:gd name="T26" fmla="*/ 289 w 1047"/>
                <a:gd name="T27" fmla="*/ 3 h 659"/>
                <a:gd name="T28" fmla="*/ 289 w 1047"/>
                <a:gd name="T29" fmla="*/ 3 h 659"/>
                <a:gd name="T30" fmla="*/ 152 w 1047"/>
                <a:gd name="T31" fmla="*/ 113 h 659"/>
                <a:gd name="T32" fmla="*/ 97 w 1047"/>
                <a:gd name="T33" fmla="*/ 110 h 659"/>
                <a:gd name="T34" fmla="*/ 85 w 1047"/>
                <a:gd name="T35" fmla="*/ 143 h 659"/>
                <a:gd name="T36" fmla="*/ 51 w 1047"/>
                <a:gd name="T37" fmla="*/ 132 h 659"/>
                <a:gd name="T38" fmla="*/ 56 w 1047"/>
                <a:gd name="T39" fmla="*/ 101 h 659"/>
                <a:gd name="T40" fmla="*/ 17 w 1047"/>
                <a:gd name="T41" fmla="*/ 83 h 659"/>
                <a:gd name="T42" fmla="*/ 10 w 1047"/>
                <a:gd name="T43" fmla="*/ 95 h 659"/>
                <a:gd name="T44" fmla="*/ 11 w 1047"/>
                <a:gd name="T45" fmla="*/ 152 h 659"/>
                <a:gd name="T46" fmla="*/ 39 w 1047"/>
                <a:gd name="T47" fmla="*/ 181 h 659"/>
                <a:gd name="T48" fmla="*/ 104 w 1047"/>
                <a:gd name="T49" fmla="*/ 182 h 659"/>
                <a:gd name="T50" fmla="*/ 104 w 1047"/>
                <a:gd name="T51" fmla="*/ 182 h 659"/>
                <a:gd name="T52" fmla="*/ 129 w 1047"/>
                <a:gd name="T53" fmla="*/ 158 h 6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47" h="659">
                  <a:moveTo>
                    <a:pt x="129" y="158"/>
                  </a:moveTo>
                  <a:lnTo>
                    <a:pt x="148" y="119"/>
                  </a:lnTo>
                  <a:cubicBezTo>
                    <a:pt x="213" y="271"/>
                    <a:pt x="355" y="352"/>
                    <a:pt x="476" y="392"/>
                  </a:cubicBezTo>
                  <a:lnTo>
                    <a:pt x="431" y="659"/>
                  </a:lnTo>
                  <a:lnTo>
                    <a:pt x="770" y="659"/>
                  </a:lnTo>
                  <a:lnTo>
                    <a:pt x="813" y="504"/>
                  </a:lnTo>
                  <a:lnTo>
                    <a:pt x="846" y="504"/>
                  </a:lnTo>
                  <a:lnTo>
                    <a:pt x="825" y="659"/>
                  </a:lnTo>
                  <a:lnTo>
                    <a:pt x="999" y="659"/>
                  </a:lnTo>
                  <a:lnTo>
                    <a:pt x="1031" y="478"/>
                  </a:lnTo>
                  <a:cubicBezTo>
                    <a:pt x="1047" y="336"/>
                    <a:pt x="966" y="256"/>
                    <a:pt x="826" y="226"/>
                  </a:cubicBezTo>
                  <a:lnTo>
                    <a:pt x="657" y="307"/>
                  </a:lnTo>
                  <a:lnTo>
                    <a:pt x="575" y="195"/>
                  </a:lnTo>
                  <a:cubicBezTo>
                    <a:pt x="467" y="172"/>
                    <a:pt x="373" y="122"/>
                    <a:pt x="289" y="3"/>
                  </a:cubicBezTo>
                  <a:cubicBezTo>
                    <a:pt x="290" y="1"/>
                    <a:pt x="290" y="0"/>
                    <a:pt x="289" y="3"/>
                  </a:cubicBezTo>
                  <a:cubicBezTo>
                    <a:pt x="266" y="73"/>
                    <a:pt x="211" y="106"/>
                    <a:pt x="152" y="113"/>
                  </a:cubicBezTo>
                  <a:cubicBezTo>
                    <a:pt x="137" y="114"/>
                    <a:pt x="113" y="114"/>
                    <a:pt x="97" y="110"/>
                  </a:cubicBezTo>
                  <a:cubicBezTo>
                    <a:pt x="102" y="122"/>
                    <a:pt x="97" y="136"/>
                    <a:pt x="85" y="143"/>
                  </a:cubicBezTo>
                  <a:cubicBezTo>
                    <a:pt x="73" y="149"/>
                    <a:pt x="57" y="144"/>
                    <a:pt x="51" y="132"/>
                  </a:cubicBezTo>
                  <a:cubicBezTo>
                    <a:pt x="45" y="121"/>
                    <a:pt x="48" y="108"/>
                    <a:pt x="56" y="101"/>
                  </a:cubicBezTo>
                  <a:cubicBezTo>
                    <a:pt x="42" y="97"/>
                    <a:pt x="29" y="91"/>
                    <a:pt x="17" y="83"/>
                  </a:cubicBezTo>
                  <a:lnTo>
                    <a:pt x="10" y="95"/>
                  </a:lnTo>
                  <a:cubicBezTo>
                    <a:pt x="0" y="114"/>
                    <a:pt x="2" y="135"/>
                    <a:pt x="11" y="152"/>
                  </a:cubicBezTo>
                  <a:cubicBezTo>
                    <a:pt x="17" y="164"/>
                    <a:pt x="27" y="174"/>
                    <a:pt x="39" y="181"/>
                  </a:cubicBezTo>
                  <a:cubicBezTo>
                    <a:pt x="60" y="192"/>
                    <a:pt x="84" y="193"/>
                    <a:pt x="104" y="182"/>
                  </a:cubicBezTo>
                  <a:cubicBezTo>
                    <a:pt x="104" y="182"/>
                    <a:pt x="104" y="182"/>
                    <a:pt x="104" y="182"/>
                  </a:cubicBezTo>
                  <a:cubicBezTo>
                    <a:pt x="114" y="177"/>
                    <a:pt x="123" y="169"/>
                    <a:pt x="129" y="15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Freeform 622">
              <a:extLst>
                <a:ext uri="{FF2B5EF4-FFF2-40B4-BE49-F238E27FC236}">
                  <a16:creationId xmlns:a16="http://schemas.microsoft.com/office/drawing/2014/main" id="{66ED6429-642D-42F7-99E1-434830AB3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5481" y="500065"/>
              <a:ext cx="179388" cy="168275"/>
            </a:xfrm>
            <a:custGeom>
              <a:avLst/>
              <a:gdLst>
                <a:gd name="T0" fmla="*/ 9 w 252"/>
                <a:gd name="T1" fmla="*/ 190 h 238"/>
                <a:gd name="T2" fmla="*/ 75 w 252"/>
                <a:gd name="T3" fmla="*/ 233 h 238"/>
                <a:gd name="T4" fmla="*/ 116 w 252"/>
                <a:gd name="T5" fmla="*/ 238 h 238"/>
                <a:gd name="T6" fmla="*/ 227 w 252"/>
                <a:gd name="T7" fmla="*/ 171 h 238"/>
                <a:gd name="T8" fmla="*/ 190 w 252"/>
                <a:gd name="T9" fmla="*/ 24 h 238"/>
                <a:gd name="T10" fmla="*/ 122 w 252"/>
                <a:gd name="T11" fmla="*/ 1 h 238"/>
                <a:gd name="T12" fmla="*/ 35 w 252"/>
                <a:gd name="T13" fmla="*/ 88 h 238"/>
                <a:gd name="T14" fmla="*/ 9 w 252"/>
                <a:gd name="T15" fmla="*/ 19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2" h="238">
                  <a:moveTo>
                    <a:pt x="9" y="190"/>
                  </a:moveTo>
                  <a:cubicBezTo>
                    <a:pt x="19" y="218"/>
                    <a:pt x="35" y="223"/>
                    <a:pt x="75" y="233"/>
                  </a:cubicBezTo>
                  <a:cubicBezTo>
                    <a:pt x="89" y="237"/>
                    <a:pt x="102" y="238"/>
                    <a:pt x="116" y="238"/>
                  </a:cubicBezTo>
                  <a:cubicBezTo>
                    <a:pt x="163" y="238"/>
                    <a:pt x="207" y="216"/>
                    <a:pt x="227" y="171"/>
                  </a:cubicBezTo>
                  <a:cubicBezTo>
                    <a:pt x="252" y="115"/>
                    <a:pt x="232" y="49"/>
                    <a:pt x="190" y="24"/>
                  </a:cubicBezTo>
                  <a:cubicBezTo>
                    <a:pt x="169" y="11"/>
                    <a:pt x="148" y="2"/>
                    <a:pt x="122" y="1"/>
                  </a:cubicBezTo>
                  <a:cubicBezTo>
                    <a:pt x="77" y="0"/>
                    <a:pt x="58" y="35"/>
                    <a:pt x="35" y="88"/>
                  </a:cubicBezTo>
                  <a:cubicBezTo>
                    <a:pt x="18" y="126"/>
                    <a:pt x="0" y="163"/>
                    <a:pt x="9" y="19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Freeform 656">
              <a:extLst>
                <a:ext uri="{FF2B5EF4-FFF2-40B4-BE49-F238E27FC236}">
                  <a16:creationId xmlns:a16="http://schemas.microsoft.com/office/drawing/2014/main" id="{CCFA945D-7856-4EC4-BB16-EEADDF9E66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9331" y="355602"/>
              <a:ext cx="390525" cy="419100"/>
            </a:xfrm>
            <a:custGeom>
              <a:avLst/>
              <a:gdLst>
                <a:gd name="T0" fmla="*/ 477 w 549"/>
                <a:gd name="T1" fmla="*/ 330 h 588"/>
                <a:gd name="T2" fmla="*/ 128 w 549"/>
                <a:gd name="T3" fmla="*/ 242 h 588"/>
                <a:gd name="T4" fmla="*/ 134 w 549"/>
                <a:gd name="T5" fmla="*/ 229 h 588"/>
                <a:gd name="T6" fmla="*/ 219 w 549"/>
                <a:gd name="T7" fmla="*/ 101 h 588"/>
                <a:gd name="T8" fmla="*/ 350 w 549"/>
                <a:gd name="T9" fmla="*/ 81 h 588"/>
                <a:gd name="T10" fmla="*/ 394 w 549"/>
                <a:gd name="T11" fmla="*/ 99 h 588"/>
                <a:gd name="T12" fmla="*/ 472 w 549"/>
                <a:gd name="T13" fmla="*/ 293 h 588"/>
                <a:gd name="T14" fmla="*/ 477 w 549"/>
                <a:gd name="T15" fmla="*/ 330 h 588"/>
                <a:gd name="T16" fmla="*/ 421 w 549"/>
                <a:gd name="T17" fmla="*/ 55 h 588"/>
                <a:gd name="T18" fmla="*/ 361 w 549"/>
                <a:gd name="T19" fmla="*/ 30 h 588"/>
                <a:gd name="T20" fmla="*/ 81 w 549"/>
                <a:gd name="T21" fmla="*/ 218 h 588"/>
                <a:gd name="T22" fmla="*/ 69 w 549"/>
                <a:gd name="T23" fmla="*/ 216 h 588"/>
                <a:gd name="T24" fmla="*/ 58 w 549"/>
                <a:gd name="T25" fmla="*/ 215 h 588"/>
                <a:gd name="T26" fmla="*/ 14 w 549"/>
                <a:gd name="T27" fmla="*/ 217 h 588"/>
                <a:gd name="T28" fmla="*/ 7 w 549"/>
                <a:gd name="T29" fmla="*/ 225 h 588"/>
                <a:gd name="T30" fmla="*/ 1 w 549"/>
                <a:gd name="T31" fmla="*/ 250 h 588"/>
                <a:gd name="T32" fmla="*/ 7 w 549"/>
                <a:gd name="T33" fmla="*/ 262 h 588"/>
                <a:gd name="T34" fmla="*/ 14 w 549"/>
                <a:gd name="T35" fmla="*/ 265 h 588"/>
                <a:gd name="T36" fmla="*/ 91 w 549"/>
                <a:gd name="T37" fmla="*/ 284 h 588"/>
                <a:gd name="T38" fmla="*/ 169 w 549"/>
                <a:gd name="T39" fmla="*/ 531 h 588"/>
                <a:gd name="T40" fmla="*/ 439 w 549"/>
                <a:gd name="T41" fmla="*/ 466 h 588"/>
                <a:gd name="T42" fmla="*/ 467 w 549"/>
                <a:gd name="T43" fmla="*/ 379 h 588"/>
                <a:gd name="T44" fmla="*/ 492 w 549"/>
                <a:gd name="T45" fmla="*/ 385 h 588"/>
                <a:gd name="T46" fmla="*/ 543 w 549"/>
                <a:gd name="T47" fmla="*/ 355 h 588"/>
                <a:gd name="T48" fmla="*/ 521 w 549"/>
                <a:gd name="T49" fmla="*/ 308 h 588"/>
                <a:gd name="T50" fmla="*/ 421 w 549"/>
                <a:gd name="T51" fmla="*/ 55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9" h="588">
                  <a:moveTo>
                    <a:pt x="477" y="330"/>
                  </a:moveTo>
                  <a:lnTo>
                    <a:pt x="128" y="242"/>
                  </a:lnTo>
                  <a:cubicBezTo>
                    <a:pt x="131" y="238"/>
                    <a:pt x="133" y="234"/>
                    <a:pt x="134" y="229"/>
                  </a:cubicBezTo>
                  <a:cubicBezTo>
                    <a:pt x="146" y="173"/>
                    <a:pt x="176" y="128"/>
                    <a:pt x="219" y="101"/>
                  </a:cubicBezTo>
                  <a:cubicBezTo>
                    <a:pt x="258" y="77"/>
                    <a:pt x="305" y="70"/>
                    <a:pt x="350" y="81"/>
                  </a:cubicBezTo>
                  <a:cubicBezTo>
                    <a:pt x="365" y="85"/>
                    <a:pt x="380" y="91"/>
                    <a:pt x="394" y="99"/>
                  </a:cubicBezTo>
                  <a:cubicBezTo>
                    <a:pt x="464" y="142"/>
                    <a:pt x="489" y="232"/>
                    <a:pt x="472" y="293"/>
                  </a:cubicBezTo>
                  <a:cubicBezTo>
                    <a:pt x="468" y="306"/>
                    <a:pt x="470" y="319"/>
                    <a:pt x="477" y="330"/>
                  </a:cubicBezTo>
                  <a:close/>
                  <a:moveTo>
                    <a:pt x="421" y="55"/>
                  </a:moveTo>
                  <a:cubicBezTo>
                    <a:pt x="403" y="44"/>
                    <a:pt x="383" y="35"/>
                    <a:pt x="361" y="30"/>
                  </a:cubicBezTo>
                  <a:cubicBezTo>
                    <a:pt x="239" y="0"/>
                    <a:pt x="112" y="75"/>
                    <a:pt x="81" y="218"/>
                  </a:cubicBezTo>
                  <a:lnTo>
                    <a:pt x="69" y="216"/>
                  </a:lnTo>
                  <a:cubicBezTo>
                    <a:pt x="67" y="216"/>
                    <a:pt x="60" y="215"/>
                    <a:pt x="58" y="215"/>
                  </a:cubicBezTo>
                  <a:lnTo>
                    <a:pt x="14" y="217"/>
                  </a:lnTo>
                  <a:cubicBezTo>
                    <a:pt x="11" y="218"/>
                    <a:pt x="8" y="221"/>
                    <a:pt x="7" y="225"/>
                  </a:cubicBezTo>
                  <a:lnTo>
                    <a:pt x="1" y="250"/>
                  </a:lnTo>
                  <a:cubicBezTo>
                    <a:pt x="0" y="254"/>
                    <a:pt x="2" y="259"/>
                    <a:pt x="7" y="262"/>
                  </a:cubicBezTo>
                  <a:cubicBezTo>
                    <a:pt x="9" y="263"/>
                    <a:pt x="11" y="264"/>
                    <a:pt x="14" y="265"/>
                  </a:cubicBezTo>
                  <a:lnTo>
                    <a:pt x="91" y="284"/>
                  </a:lnTo>
                  <a:cubicBezTo>
                    <a:pt x="52" y="373"/>
                    <a:pt x="84" y="479"/>
                    <a:pt x="169" y="531"/>
                  </a:cubicBezTo>
                  <a:cubicBezTo>
                    <a:pt x="261" y="588"/>
                    <a:pt x="382" y="559"/>
                    <a:pt x="439" y="466"/>
                  </a:cubicBezTo>
                  <a:cubicBezTo>
                    <a:pt x="456" y="439"/>
                    <a:pt x="465" y="409"/>
                    <a:pt x="467" y="379"/>
                  </a:cubicBezTo>
                  <a:lnTo>
                    <a:pt x="492" y="385"/>
                  </a:lnTo>
                  <a:cubicBezTo>
                    <a:pt x="515" y="391"/>
                    <a:pt x="536" y="377"/>
                    <a:pt x="543" y="355"/>
                  </a:cubicBezTo>
                  <a:cubicBezTo>
                    <a:pt x="549" y="334"/>
                    <a:pt x="533" y="313"/>
                    <a:pt x="521" y="308"/>
                  </a:cubicBezTo>
                  <a:cubicBezTo>
                    <a:pt x="546" y="221"/>
                    <a:pt x="508" y="108"/>
                    <a:pt x="421" y="55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20315702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9F6D6F-F337-46F2-877C-AAABB9AC79C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633520-C8B2-4248-B5FE-1FDC207C0FD6}"/>
              </a:ext>
            </a:extLst>
          </p:cNvPr>
          <p:cNvCxnSpPr/>
          <p:nvPr/>
        </p:nvCxnSpPr>
        <p:spPr>
          <a:xfrm>
            <a:off x="0" y="6226635"/>
            <a:ext cx="121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0ABBD5-2C80-4FAD-8FDB-B760AACDA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1240" y="216753"/>
            <a:ext cx="1268619" cy="829222"/>
          </a:xfrm>
          <a:prstGeom prst="rect">
            <a:avLst/>
          </a:prstGeom>
        </p:spPr>
      </p:pic>
      <p:sp>
        <p:nvSpPr>
          <p:cNvPr id="38" name="Title 2">
            <a:extLst>
              <a:ext uri="{FF2B5EF4-FFF2-40B4-BE49-F238E27FC236}">
                <a16:creationId xmlns:a16="http://schemas.microsoft.com/office/drawing/2014/main" id="{850F3374-601A-47D8-9AF7-6F526C3A1B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0407" y="45485"/>
            <a:ext cx="3453319" cy="591666"/>
          </a:xfrm>
        </p:spPr>
        <p:txBody>
          <a:bodyPr>
            <a:normAutofit/>
          </a:bodyPr>
          <a:lstStyle/>
          <a:p>
            <a:r>
              <a:rPr lang="tr-TR" sz="2400" b="1" dirty="0">
                <a:latin typeface="+mn-lt"/>
              </a:rPr>
              <a:t>ALT KOMİSYONLAR</a:t>
            </a:r>
            <a:endParaRPr lang="en-US" sz="2400" b="1" dirty="0">
              <a:latin typeface="+mn-lt"/>
            </a:endParaRPr>
          </a:p>
        </p:txBody>
      </p:sp>
      <p:sp>
        <p:nvSpPr>
          <p:cNvPr id="39" name="Freeform: Shape 38 - 1">
            <a:extLst>
              <a:ext uri="{FF2B5EF4-FFF2-40B4-BE49-F238E27FC236}">
                <a16:creationId xmlns:a16="http://schemas.microsoft.com/office/drawing/2014/main" id="{A618F7CE-07FC-4593-AF71-3BB58DCC8C32}"/>
              </a:ext>
            </a:extLst>
          </p:cNvPr>
          <p:cNvSpPr>
            <a:spLocks noChangeAspect="1"/>
          </p:cNvSpPr>
          <p:nvPr/>
        </p:nvSpPr>
        <p:spPr>
          <a:xfrm rot="3470674">
            <a:off x="2707394" y="3227506"/>
            <a:ext cx="2394737" cy="1960410"/>
          </a:xfrm>
          <a:custGeom>
            <a:avLst/>
            <a:gdLst>
              <a:gd name="connsiteX0" fmla="*/ 2030781 w 4061563"/>
              <a:gd name="connsiteY0" fmla="*/ 0 h 3574918"/>
              <a:gd name="connsiteX1" fmla="*/ 2264483 w 4061563"/>
              <a:gd name="connsiteY1" fmla="*/ 154908 h 3574918"/>
              <a:gd name="connsiteX2" fmla="*/ 2266664 w 4061563"/>
              <a:gd name="connsiteY2" fmla="*/ 161935 h 3574918"/>
              <a:gd name="connsiteX3" fmla="*/ 4013496 w 4061563"/>
              <a:gd name="connsiteY3" fmla="*/ 3173718 h 3574918"/>
              <a:gd name="connsiteX4" fmla="*/ 4018247 w 4061563"/>
              <a:gd name="connsiteY4" fmla="*/ 3179476 h 3574918"/>
              <a:gd name="connsiteX5" fmla="*/ 4061563 w 4061563"/>
              <a:gd name="connsiteY5" fmla="*/ 3321285 h 3574918"/>
              <a:gd name="connsiteX6" fmla="*/ 3807930 w 4061563"/>
              <a:gd name="connsiteY6" fmla="*/ 3574918 h 3574918"/>
              <a:gd name="connsiteX7" fmla="*/ 3783382 w 4061563"/>
              <a:gd name="connsiteY7" fmla="*/ 3572444 h 3574918"/>
              <a:gd name="connsiteX8" fmla="*/ 3783382 w 4061563"/>
              <a:gd name="connsiteY8" fmla="*/ 3574918 h 3574918"/>
              <a:gd name="connsiteX9" fmla="*/ 259072 w 4061563"/>
              <a:gd name="connsiteY9" fmla="*/ 3574918 h 3574918"/>
              <a:gd name="connsiteX10" fmla="*/ 259059 w 4061563"/>
              <a:gd name="connsiteY10" fmla="*/ 3574371 h 3574918"/>
              <a:gd name="connsiteX11" fmla="*/ 253633 w 4061563"/>
              <a:gd name="connsiteY11" fmla="*/ 3574918 h 3574918"/>
              <a:gd name="connsiteX12" fmla="*/ 0 w 4061563"/>
              <a:gd name="connsiteY12" fmla="*/ 3321285 h 3574918"/>
              <a:gd name="connsiteX13" fmla="*/ 43317 w 4061563"/>
              <a:gd name="connsiteY13" fmla="*/ 3179476 h 3574918"/>
              <a:gd name="connsiteX14" fmla="*/ 48069 w 4061563"/>
              <a:gd name="connsiteY14" fmla="*/ 3173717 h 3574918"/>
              <a:gd name="connsiteX15" fmla="*/ 1794896 w 4061563"/>
              <a:gd name="connsiteY15" fmla="*/ 161943 h 3574918"/>
              <a:gd name="connsiteX16" fmla="*/ 1797080 w 4061563"/>
              <a:gd name="connsiteY16" fmla="*/ 154908 h 3574918"/>
              <a:gd name="connsiteX17" fmla="*/ 2030781 w 4061563"/>
              <a:gd name="connsiteY17" fmla="*/ 0 h 357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61563" h="3574918">
                <a:moveTo>
                  <a:pt x="2030781" y="0"/>
                </a:moveTo>
                <a:cubicBezTo>
                  <a:pt x="2135840" y="0"/>
                  <a:pt x="2225979" y="63875"/>
                  <a:pt x="2264483" y="154908"/>
                </a:cubicBezTo>
                <a:lnTo>
                  <a:pt x="2266664" y="161935"/>
                </a:lnTo>
                <a:lnTo>
                  <a:pt x="4013496" y="3173718"/>
                </a:lnTo>
                <a:lnTo>
                  <a:pt x="4018247" y="3179476"/>
                </a:lnTo>
                <a:cubicBezTo>
                  <a:pt x="4045595" y="3219957"/>
                  <a:pt x="4061563" y="3268756"/>
                  <a:pt x="4061563" y="3321285"/>
                </a:cubicBezTo>
                <a:cubicBezTo>
                  <a:pt x="4061563" y="3461363"/>
                  <a:pt x="3948008" y="3574918"/>
                  <a:pt x="3807930" y="3574918"/>
                </a:cubicBezTo>
                <a:lnTo>
                  <a:pt x="3783382" y="3572444"/>
                </a:lnTo>
                <a:lnTo>
                  <a:pt x="3783382" y="3574918"/>
                </a:lnTo>
                <a:lnTo>
                  <a:pt x="259072" y="3574918"/>
                </a:lnTo>
                <a:lnTo>
                  <a:pt x="259059" y="3574371"/>
                </a:lnTo>
                <a:lnTo>
                  <a:pt x="253633" y="3574918"/>
                </a:lnTo>
                <a:cubicBezTo>
                  <a:pt x="113555" y="3574918"/>
                  <a:pt x="0" y="3461363"/>
                  <a:pt x="0" y="3321285"/>
                </a:cubicBezTo>
                <a:cubicBezTo>
                  <a:pt x="0" y="3268756"/>
                  <a:pt x="15969" y="3219957"/>
                  <a:pt x="43317" y="3179476"/>
                </a:cubicBezTo>
                <a:lnTo>
                  <a:pt x="48069" y="3173717"/>
                </a:lnTo>
                <a:lnTo>
                  <a:pt x="1794896" y="161943"/>
                </a:lnTo>
                <a:lnTo>
                  <a:pt x="1797080" y="154908"/>
                </a:lnTo>
                <a:cubicBezTo>
                  <a:pt x="1835583" y="63875"/>
                  <a:pt x="1925723" y="0"/>
                  <a:pt x="2030781" y="0"/>
                </a:cubicBezTo>
                <a:close/>
              </a:path>
            </a:pathLst>
          </a:custGeom>
          <a:solidFill>
            <a:srgbClr val="C73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Freeform: Shape 38">
            <a:extLst>
              <a:ext uri="{FF2B5EF4-FFF2-40B4-BE49-F238E27FC236}">
                <a16:creationId xmlns:a16="http://schemas.microsoft.com/office/drawing/2014/main" id="{56F769C2-079F-49F4-B4E1-50D5D3AFD329}"/>
              </a:ext>
            </a:extLst>
          </p:cNvPr>
          <p:cNvSpPr>
            <a:spLocks noChangeAspect="1"/>
          </p:cNvSpPr>
          <p:nvPr/>
        </p:nvSpPr>
        <p:spPr>
          <a:xfrm rot="12312848">
            <a:off x="5089325" y="740740"/>
            <a:ext cx="2181596" cy="1871891"/>
          </a:xfrm>
          <a:custGeom>
            <a:avLst/>
            <a:gdLst>
              <a:gd name="connsiteX0" fmla="*/ 2030781 w 4061563"/>
              <a:gd name="connsiteY0" fmla="*/ 0 h 3574918"/>
              <a:gd name="connsiteX1" fmla="*/ 2264483 w 4061563"/>
              <a:gd name="connsiteY1" fmla="*/ 154908 h 3574918"/>
              <a:gd name="connsiteX2" fmla="*/ 2266664 w 4061563"/>
              <a:gd name="connsiteY2" fmla="*/ 161935 h 3574918"/>
              <a:gd name="connsiteX3" fmla="*/ 4013496 w 4061563"/>
              <a:gd name="connsiteY3" fmla="*/ 3173718 h 3574918"/>
              <a:gd name="connsiteX4" fmla="*/ 4018247 w 4061563"/>
              <a:gd name="connsiteY4" fmla="*/ 3179476 h 3574918"/>
              <a:gd name="connsiteX5" fmla="*/ 4061563 w 4061563"/>
              <a:gd name="connsiteY5" fmla="*/ 3321285 h 3574918"/>
              <a:gd name="connsiteX6" fmla="*/ 3807930 w 4061563"/>
              <a:gd name="connsiteY6" fmla="*/ 3574918 h 3574918"/>
              <a:gd name="connsiteX7" fmla="*/ 3783382 w 4061563"/>
              <a:gd name="connsiteY7" fmla="*/ 3572444 h 3574918"/>
              <a:gd name="connsiteX8" fmla="*/ 3783382 w 4061563"/>
              <a:gd name="connsiteY8" fmla="*/ 3574918 h 3574918"/>
              <a:gd name="connsiteX9" fmla="*/ 259072 w 4061563"/>
              <a:gd name="connsiteY9" fmla="*/ 3574918 h 3574918"/>
              <a:gd name="connsiteX10" fmla="*/ 259059 w 4061563"/>
              <a:gd name="connsiteY10" fmla="*/ 3574371 h 3574918"/>
              <a:gd name="connsiteX11" fmla="*/ 253633 w 4061563"/>
              <a:gd name="connsiteY11" fmla="*/ 3574918 h 3574918"/>
              <a:gd name="connsiteX12" fmla="*/ 0 w 4061563"/>
              <a:gd name="connsiteY12" fmla="*/ 3321285 h 3574918"/>
              <a:gd name="connsiteX13" fmla="*/ 43317 w 4061563"/>
              <a:gd name="connsiteY13" fmla="*/ 3179476 h 3574918"/>
              <a:gd name="connsiteX14" fmla="*/ 48069 w 4061563"/>
              <a:gd name="connsiteY14" fmla="*/ 3173717 h 3574918"/>
              <a:gd name="connsiteX15" fmla="*/ 1794896 w 4061563"/>
              <a:gd name="connsiteY15" fmla="*/ 161943 h 3574918"/>
              <a:gd name="connsiteX16" fmla="*/ 1797080 w 4061563"/>
              <a:gd name="connsiteY16" fmla="*/ 154908 h 3574918"/>
              <a:gd name="connsiteX17" fmla="*/ 2030781 w 4061563"/>
              <a:gd name="connsiteY17" fmla="*/ 0 h 357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61563" h="3574918">
                <a:moveTo>
                  <a:pt x="2030781" y="0"/>
                </a:moveTo>
                <a:cubicBezTo>
                  <a:pt x="2135840" y="0"/>
                  <a:pt x="2225979" y="63875"/>
                  <a:pt x="2264483" y="154908"/>
                </a:cubicBezTo>
                <a:lnTo>
                  <a:pt x="2266664" y="161935"/>
                </a:lnTo>
                <a:lnTo>
                  <a:pt x="4013496" y="3173718"/>
                </a:lnTo>
                <a:lnTo>
                  <a:pt x="4018247" y="3179476"/>
                </a:lnTo>
                <a:cubicBezTo>
                  <a:pt x="4045595" y="3219957"/>
                  <a:pt x="4061563" y="3268756"/>
                  <a:pt x="4061563" y="3321285"/>
                </a:cubicBezTo>
                <a:cubicBezTo>
                  <a:pt x="4061563" y="3461363"/>
                  <a:pt x="3948008" y="3574918"/>
                  <a:pt x="3807930" y="3574918"/>
                </a:cubicBezTo>
                <a:lnTo>
                  <a:pt x="3783382" y="3572444"/>
                </a:lnTo>
                <a:lnTo>
                  <a:pt x="3783382" y="3574918"/>
                </a:lnTo>
                <a:lnTo>
                  <a:pt x="259072" y="3574918"/>
                </a:lnTo>
                <a:lnTo>
                  <a:pt x="259059" y="3574371"/>
                </a:lnTo>
                <a:lnTo>
                  <a:pt x="253633" y="3574918"/>
                </a:lnTo>
                <a:cubicBezTo>
                  <a:pt x="113555" y="3574918"/>
                  <a:pt x="0" y="3461363"/>
                  <a:pt x="0" y="3321285"/>
                </a:cubicBezTo>
                <a:cubicBezTo>
                  <a:pt x="0" y="3268756"/>
                  <a:pt x="15969" y="3219957"/>
                  <a:pt x="43317" y="3179476"/>
                </a:cubicBezTo>
                <a:lnTo>
                  <a:pt x="48069" y="3173717"/>
                </a:lnTo>
                <a:lnTo>
                  <a:pt x="1794896" y="161943"/>
                </a:lnTo>
                <a:lnTo>
                  <a:pt x="1797080" y="154908"/>
                </a:lnTo>
                <a:cubicBezTo>
                  <a:pt x="1835583" y="63875"/>
                  <a:pt x="1925723" y="0"/>
                  <a:pt x="2030781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Freeform: Shape 38 - 1">
            <a:extLst>
              <a:ext uri="{FF2B5EF4-FFF2-40B4-BE49-F238E27FC236}">
                <a16:creationId xmlns:a16="http://schemas.microsoft.com/office/drawing/2014/main" id="{8482929C-B5EE-4983-8B02-20330699E062}"/>
              </a:ext>
            </a:extLst>
          </p:cNvPr>
          <p:cNvSpPr>
            <a:spLocks noChangeAspect="1"/>
          </p:cNvSpPr>
          <p:nvPr/>
        </p:nvSpPr>
        <p:spPr>
          <a:xfrm rot="7790331">
            <a:off x="2906341" y="1212466"/>
            <a:ext cx="2292647" cy="1893402"/>
          </a:xfrm>
          <a:custGeom>
            <a:avLst/>
            <a:gdLst>
              <a:gd name="connsiteX0" fmla="*/ 2030781 w 4061563"/>
              <a:gd name="connsiteY0" fmla="*/ 0 h 3574918"/>
              <a:gd name="connsiteX1" fmla="*/ 2264483 w 4061563"/>
              <a:gd name="connsiteY1" fmla="*/ 154908 h 3574918"/>
              <a:gd name="connsiteX2" fmla="*/ 2266664 w 4061563"/>
              <a:gd name="connsiteY2" fmla="*/ 161935 h 3574918"/>
              <a:gd name="connsiteX3" fmla="*/ 4013496 w 4061563"/>
              <a:gd name="connsiteY3" fmla="*/ 3173718 h 3574918"/>
              <a:gd name="connsiteX4" fmla="*/ 4018247 w 4061563"/>
              <a:gd name="connsiteY4" fmla="*/ 3179476 h 3574918"/>
              <a:gd name="connsiteX5" fmla="*/ 4061563 w 4061563"/>
              <a:gd name="connsiteY5" fmla="*/ 3321285 h 3574918"/>
              <a:gd name="connsiteX6" fmla="*/ 3807930 w 4061563"/>
              <a:gd name="connsiteY6" fmla="*/ 3574918 h 3574918"/>
              <a:gd name="connsiteX7" fmla="*/ 3783382 w 4061563"/>
              <a:gd name="connsiteY7" fmla="*/ 3572444 h 3574918"/>
              <a:gd name="connsiteX8" fmla="*/ 3783382 w 4061563"/>
              <a:gd name="connsiteY8" fmla="*/ 3574918 h 3574918"/>
              <a:gd name="connsiteX9" fmla="*/ 259072 w 4061563"/>
              <a:gd name="connsiteY9" fmla="*/ 3574918 h 3574918"/>
              <a:gd name="connsiteX10" fmla="*/ 259059 w 4061563"/>
              <a:gd name="connsiteY10" fmla="*/ 3574371 h 3574918"/>
              <a:gd name="connsiteX11" fmla="*/ 253633 w 4061563"/>
              <a:gd name="connsiteY11" fmla="*/ 3574918 h 3574918"/>
              <a:gd name="connsiteX12" fmla="*/ 0 w 4061563"/>
              <a:gd name="connsiteY12" fmla="*/ 3321285 h 3574918"/>
              <a:gd name="connsiteX13" fmla="*/ 43317 w 4061563"/>
              <a:gd name="connsiteY13" fmla="*/ 3179476 h 3574918"/>
              <a:gd name="connsiteX14" fmla="*/ 48069 w 4061563"/>
              <a:gd name="connsiteY14" fmla="*/ 3173717 h 3574918"/>
              <a:gd name="connsiteX15" fmla="*/ 1794896 w 4061563"/>
              <a:gd name="connsiteY15" fmla="*/ 161943 h 3574918"/>
              <a:gd name="connsiteX16" fmla="*/ 1797080 w 4061563"/>
              <a:gd name="connsiteY16" fmla="*/ 154908 h 3574918"/>
              <a:gd name="connsiteX17" fmla="*/ 2030781 w 4061563"/>
              <a:gd name="connsiteY17" fmla="*/ 0 h 357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61563" h="3574918">
                <a:moveTo>
                  <a:pt x="2030781" y="0"/>
                </a:moveTo>
                <a:cubicBezTo>
                  <a:pt x="2135840" y="0"/>
                  <a:pt x="2225979" y="63875"/>
                  <a:pt x="2264483" y="154908"/>
                </a:cubicBezTo>
                <a:lnTo>
                  <a:pt x="2266664" y="161935"/>
                </a:lnTo>
                <a:lnTo>
                  <a:pt x="4013496" y="3173718"/>
                </a:lnTo>
                <a:lnTo>
                  <a:pt x="4018247" y="3179476"/>
                </a:lnTo>
                <a:cubicBezTo>
                  <a:pt x="4045595" y="3219957"/>
                  <a:pt x="4061563" y="3268756"/>
                  <a:pt x="4061563" y="3321285"/>
                </a:cubicBezTo>
                <a:cubicBezTo>
                  <a:pt x="4061563" y="3461363"/>
                  <a:pt x="3948008" y="3574918"/>
                  <a:pt x="3807930" y="3574918"/>
                </a:cubicBezTo>
                <a:lnTo>
                  <a:pt x="3783382" y="3572444"/>
                </a:lnTo>
                <a:lnTo>
                  <a:pt x="3783382" y="3574918"/>
                </a:lnTo>
                <a:lnTo>
                  <a:pt x="259072" y="3574918"/>
                </a:lnTo>
                <a:lnTo>
                  <a:pt x="259059" y="3574371"/>
                </a:lnTo>
                <a:lnTo>
                  <a:pt x="253633" y="3574918"/>
                </a:lnTo>
                <a:cubicBezTo>
                  <a:pt x="113555" y="3574918"/>
                  <a:pt x="0" y="3461363"/>
                  <a:pt x="0" y="3321285"/>
                </a:cubicBezTo>
                <a:cubicBezTo>
                  <a:pt x="0" y="3268756"/>
                  <a:pt x="15969" y="3219957"/>
                  <a:pt x="43317" y="3179476"/>
                </a:cubicBezTo>
                <a:lnTo>
                  <a:pt x="48069" y="3173717"/>
                </a:lnTo>
                <a:lnTo>
                  <a:pt x="1794896" y="161943"/>
                </a:lnTo>
                <a:lnTo>
                  <a:pt x="1797080" y="154908"/>
                </a:lnTo>
                <a:cubicBezTo>
                  <a:pt x="1835583" y="63875"/>
                  <a:pt x="1925723" y="0"/>
                  <a:pt x="20307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Freeform: Shape 38">
            <a:extLst>
              <a:ext uri="{FF2B5EF4-FFF2-40B4-BE49-F238E27FC236}">
                <a16:creationId xmlns:a16="http://schemas.microsoft.com/office/drawing/2014/main" id="{26F16CD4-525F-4B4E-AEBC-3C8E750972F9}"/>
              </a:ext>
            </a:extLst>
          </p:cNvPr>
          <p:cNvSpPr>
            <a:spLocks noChangeAspect="1"/>
          </p:cNvSpPr>
          <p:nvPr/>
        </p:nvSpPr>
        <p:spPr>
          <a:xfrm rot="20397637">
            <a:off x="4714319" y="3896180"/>
            <a:ext cx="2523186" cy="1919033"/>
          </a:xfrm>
          <a:custGeom>
            <a:avLst/>
            <a:gdLst>
              <a:gd name="connsiteX0" fmla="*/ 2030781 w 4061563"/>
              <a:gd name="connsiteY0" fmla="*/ 0 h 3574918"/>
              <a:gd name="connsiteX1" fmla="*/ 2264483 w 4061563"/>
              <a:gd name="connsiteY1" fmla="*/ 154908 h 3574918"/>
              <a:gd name="connsiteX2" fmla="*/ 2266664 w 4061563"/>
              <a:gd name="connsiteY2" fmla="*/ 161935 h 3574918"/>
              <a:gd name="connsiteX3" fmla="*/ 4013496 w 4061563"/>
              <a:gd name="connsiteY3" fmla="*/ 3173718 h 3574918"/>
              <a:gd name="connsiteX4" fmla="*/ 4018247 w 4061563"/>
              <a:gd name="connsiteY4" fmla="*/ 3179476 h 3574918"/>
              <a:gd name="connsiteX5" fmla="*/ 4061563 w 4061563"/>
              <a:gd name="connsiteY5" fmla="*/ 3321285 h 3574918"/>
              <a:gd name="connsiteX6" fmla="*/ 3807930 w 4061563"/>
              <a:gd name="connsiteY6" fmla="*/ 3574918 h 3574918"/>
              <a:gd name="connsiteX7" fmla="*/ 3783382 w 4061563"/>
              <a:gd name="connsiteY7" fmla="*/ 3572444 h 3574918"/>
              <a:gd name="connsiteX8" fmla="*/ 3783382 w 4061563"/>
              <a:gd name="connsiteY8" fmla="*/ 3574918 h 3574918"/>
              <a:gd name="connsiteX9" fmla="*/ 259072 w 4061563"/>
              <a:gd name="connsiteY9" fmla="*/ 3574918 h 3574918"/>
              <a:gd name="connsiteX10" fmla="*/ 259059 w 4061563"/>
              <a:gd name="connsiteY10" fmla="*/ 3574371 h 3574918"/>
              <a:gd name="connsiteX11" fmla="*/ 253633 w 4061563"/>
              <a:gd name="connsiteY11" fmla="*/ 3574918 h 3574918"/>
              <a:gd name="connsiteX12" fmla="*/ 0 w 4061563"/>
              <a:gd name="connsiteY12" fmla="*/ 3321285 h 3574918"/>
              <a:gd name="connsiteX13" fmla="*/ 43317 w 4061563"/>
              <a:gd name="connsiteY13" fmla="*/ 3179476 h 3574918"/>
              <a:gd name="connsiteX14" fmla="*/ 48069 w 4061563"/>
              <a:gd name="connsiteY14" fmla="*/ 3173717 h 3574918"/>
              <a:gd name="connsiteX15" fmla="*/ 1794896 w 4061563"/>
              <a:gd name="connsiteY15" fmla="*/ 161943 h 3574918"/>
              <a:gd name="connsiteX16" fmla="*/ 1797080 w 4061563"/>
              <a:gd name="connsiteY16" fmla="*/ 154908 h 3574918"/>
              <a:gd name="connsiteX17" fmla="*/ 2030781 w 4061563"/>
              <a:gd name="connsiteY17" fmla="*/ 0 h 357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61563" h="3574918">
                <a:moveTo>
                  <a:pt x="2030781" y="0"/>
                </a:moveTo>
                <a:cubicBezTo>
                  <a:pt x="2135840" y="0"/>
                  <a:pt x="2225979" y="63875"/>
                  <a:pt x="2264483" y="154908"/>
                </a:cubicBezTo>
                <a:lnTo>
                  <a:pt x="2266664" y="161935"/>
                </a:lnTo>
                <a:lnTo>
                  <a:pt x="4013496" y="3173718"/>
                </a:lnTo>
                <a:lnTo>
                  <a:pt x="4018247" y="3179476"/>
                </a:lnTo>
                <a:cubicBezTo>
                  <a:pt x="4045595" y="3219957"/>
                  <a:pt x="4061563" y="3268756"/>
                  <a:pt x="4061563" y="3321285"/>
                </a:cubicBezTo>
                <a:cubicBezTo>
                  <a:pt x="4061563" y="3461363"/>
                  <a:pt x="3948008" y="3574918"/>
                  <a:pt x="3807930" y="3574918"/>
                </a:cubicBezTo>
                <a:lnTo>
                  <a:pt x="3783382" y="3572444"/>
                </a:lnTo>
                <a:lnTo>
                  <a:pt x="3783382" y="3574918"/>
                </a:lnTo>
                <a:lnTo>
                  <a:pt x="259072" y="3574918"/>
                </a:lnTo>
                <a:lnTo>
                  <a:pt x="259059" y="3574371"/>
                </a:lnTo>
                <a:lnTo>
                  <a:pt x="253633" y="3574918"/>
                </a:lnTo>
                <a:cubicBezTo>
                  <a:pt x="113555" y="3574918"/>
                  <a:pt x="0" y="3461363"/>
                  <a:pt x="0" y="3321285"/>
                </a:cubicBezTo>
                <a:cubicBezTo>
                  <a:pt x="0" y="3268756"/>
                  <a:pt x="15969" y="3219957"/>
                  <a:pt x="43317" y="3179476"/>
                </a:cubicBezTo>
                <a:lnTo>
                  <a:pt x="48069" y="3173717"/>
                </a:lnTo>
                <a:lnTo>
                  <a:pt x="1794896" y="161943"/>
                </a:lnTo>
                <a:lnTo>
                  <a:pt x="1797080" y="154908"/>
                </a:lnTo>
                <a:cubicBezTo>
                  <a:pt x="1835583" y="63875"/>
                  <a:pt x="1925723" y="0"/>
                  <a:pt x="2030781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816910A3-AC29-4D1B-B4F1-B71622299475}"/>
              </a:ext>
            </a:extLst>
          </p:cNvPr>
          <p:cNvSpPr>
            <a:spLocks noChangeAspect="1"/>
          </p:cNvSpPr>
          <p:nvPr/>
        </p:nvSpPr>
        <p:spPr>
          <a:xfrm>
            <a:off x="4804084" y="2579525"/>
            <a:ext cx="1217066" cy="1217066"/>
          </a:xfrm>
          <a:prstGeom prst="ellipse">
            <a:avLst/>
          </a:prstGeom>
          <a:solidFill>
            <a:srgbClr val="FF0000"/>
          </a:solidFill>
          <a:ln>
            <a:noFill/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ASS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7" name="Resim 46">
            <a:extLst>
              <a:ext uri="{FF2B5EF4-FFF2-40B4-BE49-F238E27FC236}">
                <a16:creationId xmlns:a16="http://schemas.microsoft.com/office/drawing/2014/main" id="{2449BDF3-07D2-4F6E-99C2-50A7118AD1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27607">
            <a:off x="3156641" y="1551642"/>
            <a:ext cx="1185781" cy="664038"/>
          </a:xfrm>
          <a:prstGeom prst="rect">
            <a:avLst/>
          </a:prstGeom>
        </p:spPr>
      </p:pic>
      <p:pic>
        <p:nvPicPr>
          <p:cNvPr id="49" name="Resim 48">
            <a:extLst>
              <a:ext uri="{FF2B5EF4-FFF2-40B4-BE49-F238E27FC236}">
                <a16:creationId xmlns:a16="http://schemas.microsoft.com/office/drawing/2014/main" id="{C4D9D0DA-82FB-4E64-A636-FBD266CFE7B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539727">
            <a:off x="5769751" y="917808"/>
            <a:ext cx="1206695" cy="593920"/>
          </a:xfrm>
          <a:prstGeom prst="rect">
            <a:avLst/>
          </a:prstGeom>
        </p:spPr>
      </p:pic>
      <p:pic>
        <p:nvPicPr>
          <p:cNvPr id="51" name="Resim 50">
            <a:extLst>
              <a:ext uri="{FF2B5EF4-FFF2-40B4-BE49-F238E27FC236}">
                <a16:creationId xmlns:a16="http://schemas.microsoft.com/office/drawing/2014/main" id="{A7CA25D4-9C7E-4BFC-860A-07A1FEA2316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415926">
            <a:off x="5439976" y="4857552"/>
            <a:ext cx="1361439" cy="767769"/>
          </a:xfrm>
          <a:prstGeom prst="rect">
            <a:avLst/>
          </a:prstGeom>
        </p:spPr>
      </p:pic>
      <p:pic>
        <p:nvPicPr>
          <p:cNvPr id="53" name="Resim 52">
            <a:extLst>
              <a:ext uri="{FF2B5EF4-FFF2-40B4-BE49-F238E27FC236}">
                <a16:creationId xmlns:a16="http://schemas.microsoft.com/office/drawing/2014/main" id="{8E7EF351-1214-4360-9380-8724E46FF20D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17278">
            <a:off x="2966107" y="3978864"/>
            <a:ext cx="1217313" cy="811542"/>
          </a:xfrm>
          <a:prstGeom prst="rect">
            <a:avLst/>
          </a:prstGeom>
        </p:spPr>
      </p:pic>
      <p:sp>
        <p:nvSpPr>
          <p:cNvPr id="54" name="Metin kutusu 53">
            <a:extLst>
              <a:ext uri="{FF2B5EF4-FFF2-40B4-BE49-F238E27FC236}">
                <a16:creationId xmlns:a16="http://schemas.microsoft.com/office/drawing/2014/main" id="{1BD9E995-8255-4011-ACB8-28159E3607AA}"/>
              </a:ext>
            </a:extLst>
          </p:cNvPr>
          <p:cNvSpPr txBox="1"/>
          <p:nvPr/>
        </p:nvSpPr>
        <p:spPr>
          <a:xfrm>
            <a:off x="7946112" y="4983564"/>
            <a:ext cx="302801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>
                <a:solidFill>
                  <a:srgbClr val="F49914"/>
                </a:solidFill>
              </a:rPr>
              <a:t>MEVZUAT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F49914"/>
                </a:solidFill>
              </a:rPr>
              <a:t>İlgili Mevzuatların Düzenlenmes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F49914"/>
                </a:solidFill>
              </a:rPr>
              <a:t>Teknik </a:t>
            </a:r>
            <a:r>
              <a:rPr lang="tr-TR" sz="1400" dirty="0" err="1">
                <a:solidFill>
                  <a:srgbClr val="F49914"/>
                </a:solidFill>
              </a:rPr>
              <a:t>İsterlerin</a:t>
            </a:r>
            <a:r>
              <a:rPr lang="tr-TR" sz="1400" dirty="0">
                <a:solidFill>
                  <a:srgbClr val="F49914"/>
                </a:solidFill>
              </a:rPr>
              <a:t> Belirlenmes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F49914"/>
                </a:solidFill>
              </a:rPr>
              <a:t>TEDAŞ, BTK ve Diğer Kurumlarla Ortaklaştırılması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tr-TR" sz="1400" b="1" dirty="0"/>
          </a:p>
        </p:txBody>
      </p:sp>
      <p:sp>
        <p:nvSpPr>
          <p:cNvPr id="55" name="Metin kutusu 54">
            <a:extLst>
              <a:ext uri="{FF2B5EF4-FFF2-40B4-BE49-F238E27FC236}">
                <a16:creationId xmlns:a16="http://schemas.microsoft.com/office/drawing/2014/main" id="{9B2DB41F-D777-45AA-B624-923FFBDF7B6C}"/>
              </a:ext>
            </a:extLst>
          </p:cNvPr>
          <p:cNvSpPr txBox="1"/>
          <p:nvPr/>
        </p:nvSpPr>
        <p:spPr>
          <a:xfrm>
            <a:off x="7717978" y="230244"/>
            <a:ext cx="302801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>
                <a:solidFill>
                  <a:srgbClr val="00B050"/>
                </a:solidFill>
              </a:rPr>
              <a:t>HEADEND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00B050"/>
                </a:solidFill>
              </a:rPr>
              <a:t>Farklı Haberleşme Sistemleri İle Veri Transfer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00B050"/>
                </a:solidFill>
              </a:rPr>
              <a:t>Marka Bağımsız Entegrasyon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00B050"/>
                </a:solidFill>
              </a:rPr>
              <a:t>Kullanıcı Kolaylığı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00B050"/>
                </a:solidFill>
              </a:rPr>
              <a:t>Esnek ve Sürdürülebilir Yapı</a:t>
            </a:r>
          </a:p>
        </p:txBody>
      </p:sp>
      <p:sp>
        <p:nvSpPr>
          <p:cNvPr id="56" name="Metin kutusu 55">
            <a:extLst>
              <a:ext uri="{FF2B5EF4-FFF2-40B4-BE49-F238E27FC236}">
                <a16:creationId xmlns:a16="http://schemas.microsoft.com/office/drawing/2014/main" id="{631D7335-2ED6-4DF3-86E2-19766E701DC9}"/>
              </a:ext>
            </a:extLst>
          </p:cNvPr>
          <p:cNvSpPr txBox="1"/>
          <p:nvPr/>
        </p:nvSpPr>
        <p:spPr>
          <a:xfrm>
            <a:off x="359879" y="1042901"/>
            <a:ext cx="22196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>
                <a:solidFill>
                  <a:schemeClr val="accent1">
                    <a:lumMod val="75000"/>
                  </a:schemeClr>
                </a:solidFill>
              </a:rPr>
              <a:t>SAYAÇ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0070C0"/>
                </a:solidFill>
              </a:rPr>
              <a:t>Teknik Özellikler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 err="1">
                <a:solidFill>
                  <a:srgbClr val="0070C0"/>
                </a:solidFill>
              </a:rPr>
              <a:t>Tüketici&amp;Sayaç</a:t>
            </a:r>
            <a:r>
              <a:rPr lang="tr-TR" sz="1400" dirty="0">
                <a:solidFill>
                  <a:srgbClr val="0070C0"/>
                </a:solidFill>
              </a:rPr>
              <a:t> İlişkis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0" lang="tr-TR" sz="140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 Paketler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0070C0"/>
                </a:solidFill>
                <a:latin typeface="Calibri"/>
              </a:rPr>
              <a:t>Alarm, Trend vb</a:t>
            </a:r>
            <a:r>
              <a:rPr lang="tr-TR" sz="1400" dirty="0">
                <a:solidFill>
                  <a:prstClr val="black"/>
                </a:solidFill>
                <a:latin typeface="Calibri"/>
              </a:rPr>
              <a:t>. </a:t>
            </a:r>
            <a:endParaRPr lang="tr-TR" sz="1400" dirty="0"/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tr-TR" sz="1400" b="1" dirty="0"/>
          </a:p>
        </p:txBody>
      </p:sp>
      <p:sp>
        <p:nvSpPr>
          <p:cNvPr id="57" name="Metin kutusu 56">
            <a:extLst>
              <a:ext uri="{FF2B5EF4-FFF2-40B4-BE49-F238E27FC236}">
                <a16:creationId xmlns:a16="http://schemas.microsoft.com/office/drawing/2014/main" id="{12D14C35-C595-47E9-9FB9-1261702368C3}"/>
              </a:ext>
            </a:extLst>
          </p:cNvPr>
          <p:cNvSpPr txBox="1"/>
          <p:nvPr/>
        </p:nvSpPr>
        <p:spPr>
          <a:xfrm>
            <a:off x="321792" y="3873447"/>
            <a:ext cx="227424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>
                <a:solidFill>
                  <a:srgbClr val="C73FF1"/>
                </a:solidFill>
              </a:rPr>
              <a:t>SİBER GÜVENLİK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0" lang="tr-TR" sz="1400" b="0" i="0" u="none" strike="noStrike" kern="1200" cap="none" spc="0" normalizeH="0" baseline="0" noProof="0" dirty="0">
                <a:ln>
                  <a:noFill/>
                </a:ln>
                <a:solidFill>
                  <a:srgbClr val="C73FF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isk Analizi &amp; Standart İncelenmesi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0" lang="tr-TR" sz="1400" i="0" u="none" strike="noStrike" kern="1200" cap="none" spc="0" normalizeH="0" baseline="0" noProof="0" dirty="0">
                <a:ln>
                  <a:noFill/>
                </a:ln>
                <a:solidFill>
                  <a:srgbClr val="C73FF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üvenli Veri Depolam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C73FF1"/>
                </a:solidFill>
                <a:latin typeface="Calibri"/>
              </a:rPr>
              <a:t>Gömülü Sistemler İçin Güvenlik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rgbClr val="C73FF1"/>
                </a:solidFill>
                <a:latin typeface="Calibri"/>
              </a:rPr>
              <a:t>Veri Transferi İçin Güvenlik</a:t>
            </a:r>
            <a:endParaRPr lang="tr-TR" sz="1400" dirty="0">
              <a:solidFill>
                <a:srgbClr val="C73FF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tr-TR" sz="1400" b="1" dirty="0"/>
          </a:p>
        </p:txBody>
      </p:sp>
      <p:sp>
        <p:nvSpPr>
          <p:cNvPr id="58" name="Metin kutusu 57">
            <a:extLst>
              <a:ext uri="{FF2B5EF4-FFF2-40B4-BE49-F238E27FC236}">
                <a16:creationId xmlns:a16="http://schemas.microsoft.com/office/drawing/2014/main" id="{EBA5FEBB-0A9C-47DE-A4AD-2EC4690EBE17}"/>
              </a:ext>
            </a:extLst>
          </p:cNvPr>
          <p:cNvSpPr txBox="1"/>
          <p:nvPr/>
        </p:nvSpPr>
        <p:spPr>
          <a:xfrm>
            <a:off x="8733718" y="2456487"/>
            <a:ext cx="248160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>
                <a:solidFill>
                  <a:schemeClr val="bg2">
                    <a:lumMod val="50000"/>
                  </a:schemeClr>
                </a:solidFill>
              </a:rPr>
              <a:t>MODEM &amp; HABERLEŞME</a:t>
            </a:r>
            <a:endParaRPr lang="tr-TR" sz="14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chemeClr val="bg2">
                    <a:lumMod val="50000"/>
                  </a:schemeClr>
                </a:solidFill>
              </a:rPr>
              <a:t>Teknik Özellikl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tr-TR" sz="1400" dirty="0">
                <a:solidFill>
                  <a:schemeClr val="bg2">
                    <a:lumMod val="50000"/>
                  </a:schemeClr>
                </a:solidFill>
              </a:rPr>
              <a:t>Marka Bağımsızlığı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kumimoji="0" lang="tr-TR" sz="140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b-IOT, PLC, RF, </a:t>
            </a:r>
            <a:r>
              <a:rPr lang="tr-TR" sz="1400" dirty="0" err="1">
                <a:solidFill>
                  <a:schemeClr val="bg2">
                    <a:lumMod val="50000"/>
                  </a:schemeClr>
                </a:solidFill>
                <a:latin typeface="Calibri"/>
              </a:rPr>
              <a:t>LoRa</a:t>
            </a:r>
            <a:r>
              <a:rPr lang="tr-TR" sz="1400" dirty="0">
                <a:solidFill>
                  <a:schemeClr val="bg2">
                    <a:lumMod val="50000"/>
                  </a:schemeClr>
                </a:solidFill>
                <a:latin typeface="Calibri"/>
              </a:rPr>
              <a:t> Vb. Teknolojilerin Test Edilmesi</a:t>
            </a:r>
            <a:endParaRPr lang="tr-TR" sz="1400" dirty="0">
              <a:solidFill>
                <a:schemeClr val="bg2">
                  <a:lumMod val="50000"/>
                </a:schemeClr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tr-TR" sz="1400" b="1" dirty="0"/>
          </a:p>
        </p:txBody>
      </p:sp>
      <p:sp>
        <p:nvSpPr>
          <p:cNvPr id="59" name="Freeform: Shape 38">
            <a:extLst>
              <a:ext uri="{FF2B5EF4-FFF2-40B4-BE49-F238E27FC236}">
                <a16:creationId xmlns:a16="http://schemas.microsoft.com/office/drawing/2014/main" id="{9CA7A182-061E-4F30-BDD6-AC531AC8E428}"/>
              </a:ext>
            </a:extLst>
          </p:cNvPr>
          <p:cNvSpPr>
            <a:spLocks noChangeAspect="1"/>
          </p:cNvSpPr>
          <p:nvPr/>
        </p:nvSpPr>
        <p:spPr>
          <a:xfrm rot="16200000">
            <a:off x="6031167" y="2258803"/>
            <a:ext cx="2494826" cy="2081197"/>
          </a:xfrm>
          <a:custGeom>
            <a:avLst/>
            <a:gdLst>
              <a:gd name="connsiteX0" fmla="*/ 2030781 w 4061563"/>
              <a:gd name="connsiteY0" fmla="*/ 0 h 3574918"/>
              <a:gd name="connsiteX1" fmla="*/ 2264483 w 4061563"/>
              <a:gd name="connsiteY1" fmla="*/ 154908 h 3574918"/>
              <a:gd name="connsiteX2" fmla="*/ 2266664 w 4061563"/>
              <a:gd name="connsiteY2" fmla="*/ 161935 h 3574918"/>
              <a:gd name="connsiteX3" fmla="*/ 4013496 w 4061563"/>
              <a:gd name="connsiteY3" fmla="*/ 3173718 h 3574918"/>
              <a:gd name="connsiteX4" fmla="*/ 4018247 w 4061563"/>
              <a:gd name="connsiteY4" fmla="*/ 3179476 h 3574918"/>
              <a:gd name="connsiteX5" fmla="*/ 4061563 w 4061563"/>
              <a:gd name="connsiteY5" fmla="*/ 3321285 h 3574918"/>
              <a:gd name="connsiteX6" fmla="*/ 3807930 w 4061563"/>
              <a:gd name="connsiteY6" fmla="*/ 3574918 h 3574918"/>
              <a:gd name="connsiteX7" fmla="*/ 3783382 w 4061563"/>
              <a:gd name="connsiteY7" fmla="*/ 3572444 h 3574918"/>
              <a:gd name="connsiteX8" fmla="*/ 3783382 w 4061563"/>
              <a:gd name="connsiteY8" fmla="*/ 3574918 h 3574918"/>
              <a:gd name="connsiteX9" fmla="*/ 259072 w 4061563"/>
              <a:gd name="connsiteY9" fmla="*/ 3574918 h 3574918"/>
              <a:gd name="connsiteX10" fmla="*/ 259059 w 4061563"/>
              <a:gd name="connsiteY10" fmla="*/ 3574371 h 3574918"/>
              <a:gd name="connsiteX11" fmla="*/ 253633 w 4061563"/>
              <a:gd name="connsiteY11" fmla="*/ 3574918 h 3574918"/>
              <a:gd name="connsiteX12" fmla="*/ 0 w 4061563"/>
              <a:gd name="connsiteY12" fmla="*/ 3321285 h 3574918"/>
              <a:gd name="connsiteX13" fmla="*/ 43317 w 4061563"/>
              <a:gd name="connsiteY13" fmla="*/ 3179476 h 3574918"/>
              <a:gd name="connsiteX14" fmla="*/ 48069 w 4061563"/>
              <a:gd name="connsiteY14" fmla="*/ 3173717 h 3574918"/>
              <a:gd name="connsiteX15" fmla="*/ 1794896 w 4061563"/>
              <a:gd name="connsiteY15" fmla="*/ 161943 h 3574918"/>
              <a:gd name="connsiteX16" fmla="*/ 1797080 w 4061563"/>
              <a:gd name="connsiteY16" fmla="*/ 154908 h 3574918"/>
              <a:gd name="connsiteX17" fmla="*/ 2030781 w 4061563"/>
              <a:gd name="connsiteY17" fmla="*/ 0 h 3574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4061563" h="3574918">
                <a:moveTo>
                  <a:pt x="2030781" y="0"/>
                </a:moveTo>
                <a:cubicBezTo>
                  <a:pt x="2135840" y="0"/>
                  <a:pt x="2225979" y="63875"/>
                  <a:pt x="2264483" y="154908"/>
                </a:cubicBezTo>
                <a:lnTo>
                  <a:pt x="2266664" y="161935"/>
                </a:lnTo>
                <a:lnTo>
                  <a:pt x="4013496" y="3173718"/>
                </a:lnTo>
                <a:lnTo>
                  <a:pt x="4018247" y="3179476"/>
                </a:lnTo>
                <a:cubicBezTo>
                  <a:pt x="4045595" y="3219957"/>
                  <a:pt x="4061563" y="3268756"/>
                  <a:pt x="4061563" y="3321285"/>
                </a:cubicBezTo>
                <a:cubicBezTo>
                  <a:pt x="4061563" y="3461363"/>
                  <a:pt x="3948008" y="3574918"/>
                  <a:pt x="3807930" y="3574918"/>
                </a:cubicBezTo>
                <a:lnTo>
                  <a:pt x="3783382" y="3572444"/>
                </a:lnTo>
                <a:lnTo>
                  <a:pt x="3783382" y="3574918"/>
                </a:lnTo>
                <a:lnTo>
                  <a:pt x="259072" y="3574918"/>
                </a:lnTo>
                <a:lnTo>
                  <a:pt x="259059" y="3574371"/>
                </a:lnTo>
                <a:lnTo>
                  <a:pt x="253633" y="3574918"/>
                </a:lnTo>
                <a:cubicBezTo>
                  <a:pt x="113555" y="3574918"/>
                  <a:pt x="0" y="3461363"/>
                  <a:pt x="0" y="3321285"/>
                </a:cubicBezTo>
                <a:cubicBezTo>
                  <a:pt x="0" y="3268756"/>
                  <a:pt x="15969" y="3219957"/>
                  <a:pt x="43317" y="3179476"/>
                </a:cubicBezTo>
                <a:lnTo>
                  <a:pt x="48069" y="3173717"/>
                </a:lnTo>
                <a:lnTo>
                  <a:pt x="1794896" y="161943"/>
                </a:lnTo>
                <a:lnTo>
                  <a:pt x="1797080" y="154908"/>
                </a:lnTo>
                <a:cubicBezTo>
                  <a:pt x="1835583" y="63875"/>
                  <a:pt x="1925723" y="0"/>
                  <a:pt x="2030781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0" name="Resim 59">
            <a:extLst>
              <a:ext uri="{FF2B5EF4-FFF2-40B4-BE49-F238E27FC236}">
                <a16:creationId xmlns:a16="http://schemas.microsoft.com/office/drawing/2014/main" id="{B89D3309-C862-4382-B929-CBFDB7A4E392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142104" y="2915994"/>
            <a:ext cx="1136123" cy="78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3792859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9F6D6F-F337-46F2-877C-AAABB9AC79C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633520-C8B2-4248-B5FE-1FDC207C0FD6}"/>
              </a:ext>
            </a:extLst>
          </p:cNvPr>
          <p:cNvCxnSpPr/>
          <p:nvPr/>
        </p:nvCxnSpPr>
        <p:spPr>
          <a:xfrm>
            <a:off x="0" y="6226635"/>
            <a:ext cx="121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0ABBD5-2C80-4FAD-8FDB-B760AACDA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1240" y="216753"/>
            <a:ext cx="1268619" cy="829222"/>
          </a:xfrm>
          <a:prstGeom prst="rect">
            <a:avLst/>
          </a:prstGeom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58206CA2-9FEE-4702-BAB8-83D5BBDC6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541" y="136525"/>
            <a:ext cx="10515600" cy="756691"/>
          </a:xfrm>
        </p:spPr>
        <p:txBody>
          <a:bodyPr>
            <a:normAutofit/>
          </a:bodyPr>
          <a:lstStyle/>
          <a:p>
            <a:r>
              <a:rPr lang="tr-TR" sz="2400" b="1" dirty="0">
                <a:latin typeface="+mn-lt"/>
              </a:rPr>
              <a:t>MASS GEREKLİLİĞİ VE SİSTEM BİLEŞENLERİ</a:t>
            </a:r>
            <a:endParaRPr lang="en-US" sz="2400" b="1" dirty="0">
              <a:latin typeface="+mn-lt"/>
            </a:endParaRPr>
          </a:p>
        </p:txBody>
      </p:sp>
      <p:sp>
        <p:nvSpPr>
          <p:cNvPr id="2" name="İçerik Yer Tutucusu 1">
            <a:extLst>
              <a:ext uri="{FF2B5EF4-FFF2-40B4-BE49-F238E27FC236}">
                <a16:creationId xmlns:a16="http://schemas.microsoft.com/office/drawing/2014/main" id="{F6809164-48C7-4E5B-91BF-0466AC20775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96022" y="1434751"/>
            <a:ext cx="5181600" cy="4639125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tr-TR" sz="1600" dirty="0"/>
              <a:t>Sistem Bileşenleri Arasında Marka Bağımsızlığının Sağlanması</a:t>
            </a:r>
          </a:p>
          <a:p>
            <a:pPr>
              <a:buFont typeface="Wingdings" panose="05000000000000000000" pitchFamily="2" charset="2"/>
              <a:buChar char="Ø"/>
            </a:pPr>
            <a:endParaRPr lang="tr-TR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tr-TR" sz="1600" dirty="0"/>
              <a:t>Farklı Haberleşme Protokolleri İle Uyumlu Çalışabilme</a:t>
            </a:r>
          </a:p>
          <a:p>
            <a:pPr>
              <a:buFont typeface="Wingdings" panose="05000000000000000000" pitchFamily="2" charset="2"/>
              <a:buChar char="Ø"/>
            </a:pPr>
            <a:endParaRPr lang="tr-TR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tr-TR" sz="1600" dirty="0"/>
              <a:t>Kolay Entegrasyon ve Sistem Esnekliği</a:t>
            </a:r>
          </a:p>
          <a:p>
            <a:pPr>
              <a:buFont typeface="Wingdings" panose="05000000000000000000" pitchFamily="2" charset="2"/>
              <a:buChar char="Ø"/>
            </a:pPr>
            <a:endParaRPr lang="tr-TR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tr-TR" sz="1600" dirty="0"/>
              <a:t>Güvenlik Kriterlerinin Oluşturulması</a:t>
            </a:r>
          </a:p>
          <a:p>
            <a:pPr>
              <a:buFont typeface="Wingdings" panose="05000000000000000000" pitchFamily="2" charset="2"/>
              <a:buChar char="Ø"/>
            </a:pPr>
            <a:endParaRPr lang="tr-TR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tr-TR" sz="1600" dirty="0"/>
              <a:t>Ülke Geneli Gereksinimlerin Bölgesel ve Tüketici İhtiyaçlarına Göre Belirlenmesi</a:t>
            </a:r>
          </a:p>
          <a:p>
            <a:pPr>
              <a:buFont typeface="Wingdings" panose="05000000000000000000" pitchFamily="2" charset="2"/>
              <a:buChar char="Ø"/>
            </a:pPr>
            <a:endParaRPr lang="tr-TR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tr-TR" sz="1600" dirty="0"/>
              <a:t>Yerli Üreticilerin Global Pazarlarda Yer Alması</a:t>
            </a:r>
          </a:p>
          <a:p>
            <a:pPr>
              <a:buFont typeface="Wingdings" panose="05000000000000000000" pitchFamily="2" charset="2"/>
              <a:buChar char="Ø"/>
            </a:pPr>
            <a:endParaRPr lang="tr-TR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tr-TR" sz="1600" dirty="0"/>
              <a:t>Sayaç-Tüketici İlişkisinin Kurulması</a:t>
            </a:r>
          </a:p>
          <a:p>
            <a:pPr>
              <a:buFont typeface="Wingdings" panose="05000000000000000000" pitchFamily="2" charset="2"/>
              <a:buChar char="Ø"/>
            </a:pPr>
            <a:endParaRPr lang="tr-TR" sz="1800" dirty="0"/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FCDB7D2-2F54-4709-BC89-CD63AA401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B885-1BFE-45F1-956C-2D72696E8172}" type="slidenum">
              <a:rPr lang="tr-TR" smtClean="0"/>
              <a:t>7</a:t>
            </a:fld>
            <a:endParaRPr lang="tr-TR"/>
          </a:p>
        </p:txBody>
      </p:sp>
      <p:graphicFrame>
        <p:nvGraphicFramePr>
          <p:cNvPr id="4" name="İçerik Yer Tutucusu 3">
            <a:extLst>
              <a:ext uri="{FF2B5EF4-FFF2-40B4-BE49-F238E27FC236}">
                <a16:creationId xmlns:a16="http://schemas.microsoft.com/office/drawing/2014/main" id="{C5A50855-43AE-4CB4-8A33-DADA33E59C22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602443289"/>
              </p:ext>
            </p:extLst>
          </p:nvPr>
        </p:nvGraphicFramePr>
        <p:xfrm>
          <a:off x="6337570" y="1722538"/>
          <a:ext cx="5181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itle 2">
            <a:extLst>
              <a:ext uri="{FF2B5EF4-FFF2-40B4-BE49-F238E27FC236}">
                <a16:creationId xmlns:a16="http://schemas.microsoft.com/office/drawing/2014/main" id="{B265E365-56E0-424E-82C7-20B42B71F5E6}"/>
              </a:ext>
            </a:extLst>
          </p:cNvPr>
          <p:cNvSpPr txBox="1">
            <a:spLocks/>
          </p:cNvSpPr>
          <p:nvPr/>
        </p:nvSpPr>
        <p:spPr>
          <a:xfrm>
            <a:off x="7055795" y="790798"/>
            <a:ext cx="2829128" cy="7566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tr-TR" sz="1700" b="1" dirty="0">
                <a:latin typeface="+mn-lt"/>
              </a:rPr>
              <a:t>B) SİSTEM BİLEŞENLERİ</a:t>
            </a:r>
            <a:endParaRPr lang="en-US" sz="1700" b="1" dirty="0">
              <a:latin typeface="+mn-lt"/>
              <a:ea typeface="+mn-ea"/>
              <a:cs typeface="+mn-cs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490756CB-7E45-4108-AD33-D16852FB8609}"/>
              </a:ext>
            </a:extLst>
          </p:cNvPr>
          <p:cNvSpPr txBox="1">
            <a:spLocks/>
          </p:cNvSpPr>
          <p:nvPr/>
        </p:nvSpPr>
        <p:spPr>
          <a:xfrm>
            <a:off x="424541" y="790798"/>
            <a:ext cx="2829128" cy="7566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tr-TR" sz="1700" b="1" dirty="0">
                <a:latin typeface="+mn-lt"/>
              </a:rPr>
              <a:t>A) NEDEN MASS ?</a:t>
            </a:r>
          </a:p>
        </p:txBody>
      </p:sp>
    </p:spTree>
    <p:extLst>
      <p:ext uri="{BB962C8B-B14F-4D97-AF65-F5344CB8AC3E}">
        <p14:creationId xmlns:p14="http://schemas.microsoft.com/office/powerpoint/2010/main" val="545583202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9F6D6F-F337-46F2-877C-AAABB9AC79C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633520-C8B2-4248-B5FE-1FDC207C0FD6}"/>
              </a:ext>
            </a:extLst>
          </p:cNvPr>
          <p:cNvCxnSpPr/>
          <p:nvPr/>
        </p:nvCxnSpPr>
        <p:spPr>
          <a:xfrm>
            <a:off x="0" y="6226635"/>
            <a:ext cx="121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0ABBD5-2C80-4FAD-8FDB-B760AACDA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1240" y="216753"/>
            <a:ext cx="1268619" cy="829222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FCDB7D2-2F54-4709-BC89-CD63AA401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B885-1BFE-45F1-956C-2D72696E8172}" type="slidenum">
              <a:rPr lang="tr-TR" smtClean="0"/>
              <a:t>8</a:t>
            </a:fld>
            <a:endParaRPr lang="tr-TR"/>
          </a:p>
        </p:txBody>
      </p:sp>
      <p:sp>
        <p:nvSpPr>
          <p:cNvPr id="284" name="Rectangle 385">
            <a:extLst>
              <a:ext uri="{FF2B5EF4-FFF2-40B4-BE49-F238E27FC236}">
                <a16:creationId xmlns:a16="http://schemas.microsoft.com/office/drawing/2014/main" id="{9CBEBFBF-8D9B-4B23-9AC9-BC7303000223}"/>
              </a:ext>
            </a:extLst>
          </p:cNvPr>
          <p:cNvSpPr/>
          <p:nvPr/>
        </p:nvSpPr>
        <p:spPr bwMode="auto">
          <a:xfrm>
            <a:off x="5619192" y="1311302"/>
            <a:ext cx="5517930" cy="698211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fontAlgn="base">
              <a:lnSpc>
                <a:spcPct val="90000"/>
              </a:lnSpc>
              <a:defRPr/>
            </a:pPr>
            <a:r>
              <a:rPr lang="tr-TR" altLang="tr-TR" sz="1600" dirty="0">
                <a:solidFill>
                  <a:schemeClr val="tx1"/>
                </a:solidFill>
              </a:rPr>
              <a:t>Uzaktan Sayaç Okuma (anlık yada belirli aralıklar ile) ve Otomatik Faturalama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5" name="Rectangle 386">
            <a:extLst>
              <a:ext uri="{FF2B5EF4-FFF2-40B4-BE49-F238E27FC236}">
                <a16:creationId xmlns:a16="http://schemas.microsoft.com/office/drawing/2014/main" id="{8DE67FA9-9C76-480E-9D91-75EDF617BD31}"/>
              </a:ext>
            </a:extLst>
          </p:cNvPr>
          <p:cNvSpPr/>
          <p:nvPr/>
        </p:nvSpPr>
        <p:spPr bwMode="auto">
          <a:xfrm>
            <a:off x="5619192" y="2115900"/>
            <a:ext cx="5517930" cy="69821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indent="-342900" fontAlgn="base">
              <a:lnSpc>
                <a:spcPct val="90000"/>
              </a:lnSpc>
              <a:defRPr/>
            </a:pPr>
            <a:r>
              <a:rPr lang="tr-TR" altLang="tr-TR" sz="1600" dirty="0">
                <a:solidFill>
                  <a:schemeClr val="tx1"/>
                </a:solidFill>
              </a:rPr>
              <a:t>Müşteri Tüketim Eğrisine Göre Talep Tahmine Katkı Ve Tüketiciye Göre  Farklı Tarife Sunumu</a:t>
            </a:r>
          </a:p>
        </p:txBody>
      </p:sp>
      <p:sp>
        <p:nvSpPr>
          <p:cNvPr id="286" name="Rectangle 387">
            <a:extLst>
              <a:ext uri="{FF2B5EF4-FFF2-40B4-BE49-F238E27FC236}">
                <a16:creationId xmlns:a16="http://schemas.microsoft.com/office/drawing/2014/main" id="{7D04961A-D79E-47A1-B918-760406F7D003}"/>
              </a:ext>
            </a:extLst>
          </p:cNvPr>
          <p:cNvSpPr/>
          <p:nvPr/>
        </p:nvSpPr>
        <p:spPr bwMode="auto">
          <a:xfrm>
            <a:off x="5619192" y="2924865"/>
            <a:ext cx="5517930" cy="698211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indent="-342900" fontAlgn="base">
              <a:lnSpc>
                <a:spcPct val="90000"/>
              </a:lnSpc>
              <a:defRPr/>
            </a:pPr>
            <a:r>
              <a:rPr lang="tr-TR" altLang="tr-TR" sz="1600" dirty="0">
                <a:solidFill>
                  <a:schemeClr val="tx1"/>
                </a:solidFill>
              </a:rPr>
              <a:t>Uzaktan Tüketiciye Açma-Kesme- Güç Sınırlaması Uygulanabilmesi</a:t>
            </a:r>
          </a:p>
        </p:txBody>
      </p:sp>
      <p:sp>
        <p:nvSpPr>
          <p:cNvPr id="287" name="Rectangle 388">
            <a:extLst>
              <a:ext uri="{FF2B5EF4-FFF2-40B4-BE49-F238E27FC236}">
                <a16:creationId xmlns:a16="http://schemas.microsoft.com/office/drawing/2014/main" id="{46B31D69-6DA4-4069-8FE1-AF341A3AC76E}"/>
              </a:ext>
            </a:extLst>
          </p:cNvPr>
          <p:cNvSpPr/>
          <p:nvPr/>
        </p:nvSpPr>
        <p:spPr bwMode="auto">
          <a:xfrm>
            <a:off x="5619192" y="3760287"/>
            <a:ext cx="5517930" cy="69821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indent="-342900" fontAlgn="base">
              <a:lnSpc>
                <a:spcPct val="90000"/>
              </a:lnSpc>
              <a:defRPr/>
            </a:pPr>
            <a:r>
              <a:rPr lang="tr-TR" altLang="tr-TR" sz="1600" dirty="0">
                <a:solidFill>
                  <a:schemeClr val="tx1"/>
                </a:solidFill>
              </a:rPr>
              <a:t>Kaçak ve Usulsüz Kullanım Kontrolü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288" name="Rectangle 389">
            <a:extLst>
              <a:ext uri="{FF2B5EF4-FFF2-40B4-BE49-F238E27FC236}">
                <a16:creationId xmlns:a16="http://schemas.microsoft.com/office/drawing/2014/main" id="{7D53B281-DFC1-4ABF-8F14-09B0236649C9}"/>
              </a:ext>
            </a:extLst>
          </p:cNvPr>
          <p:cNvSpPr/>
          <p:nvPr/>
        </p:nvSpPr>
        <p:spPr bwMode="auto">
          <a:xfrm>
            <a:off x="5619192" y="4569252"/>
            <a:ext cx="5517930" cy="69821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indent="-342900" fontAlgn="base">
              <a:lnSpc>
                <a:spcPct val="90000"/>
              </a:lnSpc>
              <a:defRPr/>
            </a:pPr>
            <a:r>
              <a:rPr lang="tr-TR" altLang="tr-TR" sz="1600" dirty="0">
                <a:solidFill>
                  <a:schemeClr val="tx1"/>
                </a:solidFill>
              </a:rPr>
              <a:t>Tedarik Sürekliliği Kayıt Sistemlerine Veri Katkısı Sağlanması (Sistemle Entegrasyonlarla)</a:t>
            </a:r>
          </a:p>
        </p:txBody>
      </p:sp>
      <p:sp>
        <p:nvSpPr>
          <p:cNvPr id="289" name="Oval 288">
            <a:extLst>
              <a:ext uri="{FF2B5EF4-FFF2-40B4-BE49-F238E27FC236}">
                <a16:creationId xmlns:a16="http://schemas.microsoft.com/office/drawing/2014/main" id="{8855380F-6554-4613-A9C0-58A579B3F81B}"/>
              </a:ext>
            </a:extLst>
          </p:cNvPr>
          <p:cNvSpPr>
            <a:spLocks noChangeAspect="1"/>
          </p:cNvSpPr>
          <p:nvPr/>
        </p:nvSpPr>
        <p:spPr>
          <a:xfrm>
            <a:off x="5306918" y="1387026"/>
            <a:ext cx="624548" cy="48766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</a:t>
            </a:r>
          </a:p>
        </p:txBody>
      </p:sp>
      <p:sp>
        <p:nvSpPr>
          <p:cNvPr id="290" name="Oval 289">
            <a:extLst>
              <a:ext uri="{FF2B5EF4-FFF2-40B4-BE49-F238E27FC236}">
                <a16:creationId xmlns:a16="http://schemas.microsoft.com/office/drawing/2014/main" id="{0FB3FD66-E8F9-4174-8060-0CA0A655C363}"/>
              </a:ext>
            </a:extLst>
          </p:cNvPr>
          <p:cNvSpPr>
            <a:spLocks noChangeAspect="1"/>
          </p:cNvSpPr>
          <p:nvPr/>
        </p:nvSpPr>
        <p:spPr>
          <a:xfrm>
            <a:off x="5306918" y="2191624"/>
            <a:ext cx="624548" cy="487661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2</a:t>
            </a:r>
          </a:p>
        </p:txBody>
      </p:sp>
      <p:sp>
        <p:nvSpPr>
          <p:cNvPr id="291" name="Oval 290">
            <a:extLst>
              <a:ext uri="{FF2B5EF4-FFF2-40B4-BE49-F238E27FC236}">
                <a16:creationId xmlns:a16="http://schemas.microsoft.com/office/drawing/2014/main" id="{343ABD83-78FF-4429-8C91-AD749878B624}"/>
              </a:ext>
            </a:extLst>
          </p:cNvPr>
          <p:cNvSpPr>
            <a:spLocks noChangeAspect="1"/>
          </p:cNvSpPr>
          <p:nvPr/>
        </p:nvSpPr>
        <p:spPr>
          <a:xfrm>
            <a:off x="5306918" y="3000589"/>
            <a:ext cx="624548" cy="48766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3</a:t>
            </a:r>
          </a:p>
        </p:txBody>
      </p:sp>
      <p:sp>
        <p:nvSpPr>
          <p:cNvPr id="292" name="Oval 291">
            <a:extLst>
              <a:ext uri="{FF2B5EF4-FFF2-40B4-BE49-F238E27FC236}">
                <a16:creationId xmlns:a16="http://schemas.microsoft.com/office/drawing/2014/main" id="{3656E7CF-E42C-4406-B1B6-E1F99715D9BC}"/>
              </a:ext>
            </a:extLst>
          </p:cNvPr>
          <p:cNvSpPr>
            <a:spLocks noChangeAspect="1"/>
          </p:cNvSpPr>
          <p:nvPr/>
        </p:nvSpPr>
        <p:spPr>
          <a:xfrm>
            <a:off x="5306918" y="3836011"/>
            <a:ext cx="624548" cy="487661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4</a:t>
            </a:r>
          </a:p>
        </p:txBody>
      </p:sp>
      <p:sp>
        <p:nvSpPr>
          <p:cNvPr id="293" name="Oval 292">
            <a:extLst>
              <a:ext uri="{FF2B5EF4-FFF2-40B4-BE49-F238E27FC236}">
                <a16:creationId xmlns:a16="http://schemas.microsoft.com/office/drawing/2014/main" id="{FD142C7B-30D0-47F5-9B1A-0D1D9E2F2860}"/>
              </a:ext>
            </a:extLst>
          </p:cNvPr>
          <p:cNvSpPr>
            <a:spLocks noChangeAspect="1"/>
          </p:cNvSpPr>
          <p:nvPr/>
        </p:nvSpPr>
        <p:spPr>
          <a:xfrm>
            <a:off x="5306918" y="4644976"/>
            <a:ext cx="624548" cy="487661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5</a:t>
            </a:r>
          </a:p>
        </p:txBody>
      </p:sp>
      <p:sp>
        <p:nvSpPr>
          <p:cNvPr id="294" name="Rectangle 389">
            <a:extLst>
              <a:ext uri="{FF2B5EF4-FFF2-40B4-BE49-F238E27FC236}">
                <a16:creationId xmlns:a16="http://schemas.microsoft.com/office/drawing/2014/main" id="{D545063F-EA57-400B-91A3-3413719927EC}"/>
              </a:ext>
            </a:extLst>
          </p:cNvPr>
          <p:cNvSpPr/>
          <p:nvPr/>
        </p:nvSpPr>
        <p:spPr bwMode="auto">
          <a:xfrm>
            <a:off x="5619192" y="5398710"/>
            <a:ext cx="5517930" cy="698211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indent="-342900" fontAlgn="base">
              <a:lnSpc>
                <a:spcPct val="90000"/>
              </a:lnSpc>
              <a:defRPr/>
            </a:pPr>
            <a:r>
              <a:rPr lang="tr-TR" altLang="tr-TR" sz="1600" dirty="0" err="1">
                <a:solidFill>
                  <a:schemeClr val="tx1"/>
                </a:solidFill>
              </a:rPr>
              <a:t>Kompanzasyon</a:t>
            </a:r>
            <a:r>
              <a:rPr lang="tr-TR" altLang="tr-TR" sz="1600" dirty="0">
                <a:solidFill>
                  <a:schemeClr val="tx1"/>
                </a:solidFill>
              </a:rPr>
              <a:t> Ve Teknik Kalite Parametreleri Takibi</a:t>
            </a:r>
          </a:p>
        </p:txBody>
      </p:sp>
      <p:sp>
        <p:nvSpPr>
          <p:cNvPr id="295" name="Oval 294">
            <a:extLst>
              <a:ext uri="{FF2B5EF4-FFF2-40B4-BE49-F238E27FC236}">
                <a16:creationId xmlns:a16="http://schemas.microsoft.com/office/drawing/2014/main" id="{6A4FEAC5-9E2E-461C-8E11-73A089D1F75B}"/>
              </a:ext>
            </a:extLst>
          </p:cNvPr>
          <p:cNvSpPr>
            <a:spLocks noChangeAspect="1"/>
          </p:cNvSpPr>
          <p:nvPr/>
        </p:nvSpPr>
        <p:spPr>
          <a:xfrm>
            <a:off x="5306918" y="5474434"/>
            <a:ext cx="624548" cy="487661"/>
          </a:xfrm>
          <a:prstGeom prst="ellips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</a:t>
            </a:r>
            <a:r>
              <a:rPr kumimoji="0" lang="tr-T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6" name="Title 2">
            <a:extLst>
              <a:ext uri="{FF2B5EF4-FFF2-40B4-BE49-F238E27FC236}">
                <a16:creationId xmlns:a16="http://schemas.microsoft.com/office/drawing/2014/main" id="{8332FED6-1BFF-40CC-B0C7-D594152732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141" y="108865"/>
            <a:ext cx="8716216" cy="905976"/>
          </a:xfrm>
        </p:spPr>
        <p:txBody>
          <a:bodyPr>
            <a:normAutofit/>
          </a:bodyPr>
          <a:lstStyle/>
          <a:p>
            <a:r>
              <a:rPr lang="tr-TR" sz="2400" b="1" dirty="0">
                <a:latin typeface="+mn-lt"/>
              </a:rPr>
              <a:t>AKILLI SAYAÇ SİSTEMLERİ İLE OLUŞACAK KAZANIMLAR</a:t>
            </a:r>
            <a:endParaRPr lang="en-US" sz="2400" b="1" dirty="0">
              <a:latin typeface="+mn-lt"/>
            </a:endParaRPr>
          </a:p>
        </p:txBody>
      </p:sp>
      <p:pic>
        <p:nvPicPr>
          <p:cNvPr id="315" name="Resim 314">
            <a:extLst>
              <a:ext uri="{FF2B5EF4-FFF2-40B4-BE49-F238E27FC236}">
                <a16:creationId xmlns:a16="http://schemas.microsoft.com/office/drawing/2014/main" id="{3AB44A81-AED9-4C0E-89E0-1B03B04B01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2141" y="1819265"/>
            <a:ext cx="4669517" cy="3337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059516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9F6D6F-F337-46F2-877C-AAABB9AC79C1}"/>
              </a:ext>
            </a:extLst>
          </p:cNvPr>
          <p:cNvSpPr/>
          <p:nvPr/>
        </p:nvSpPr>
        <p:spPr>
          <a:xfrm>
            <a:off x="0" y="6757852"/>
            <a:ext cx="12192000" cy="10885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1633520-C8B2-4248-B5FE-1FDC207C0FD6}"/>
              </a:ext>
            </a:extLst>
          </p:cNvPr>
          <p:cNvCxnSpPr/>
          <p:nvPr/>
        </p:nvCxnSpPr>
        <p:spPr>
          <a:xfrm>
            <a:off x="0" y="6226635"/>
            <a:ext cx="1219200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620ABBD5-2C80-4FAD-8FDB-B760AACDA0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51240" y="216753"/>
            <a:ext cx="1268619" cy="829222"/>
          </a:xfrm>
          <a:prstGeom prst="rect">
            <a:avLst/>
          </a:prstGeom>
        </p:spPr>
      </p:pic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FCDB7D2-2F54-4709-BC89-CD63AA4012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B885-1BFE-45F1-956C-2D72696E8172}" type="slidenum">
              <a:rPr lang="tr-TR" smtClean="0"/>
              <a:t>9</a:t>
            </a:fld>
            <a:endParaRPr lang="tr-TR"/>
          </a:p>
        </p:txBody>
      </p:sp>
      <p:pic>
        <p:nvPicPr>
          <p:cNvPr id="14" name="Picture 2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545" y="1045975"/>
            <a:ext cx="10582910" cy="435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8805591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4472C4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epairing*worker*activity*construction*fixing*solution*maintenance*wrench*tools*people*industry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lipboard_POWER_USER_SEPARATOR_ICONS_content_POWER_USER_SEPARATOR_ICONS_notes_POWER_USER_SEPARATOR_ICONS_offi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andshake_POWER_USER_SEPARATOR_ICONS_greet_POWER_USER_SEPARATOR_ICONS_hand_POWER_USER_SEPARATOR_ICONS_integrate_POWER_USER_SEPARATOR_ICONS_meet_POWER_USER_SEPARATOR_ICONS_partenariat_POWER_USER_SEPARATOR_ICONS_peace_POWER_USER_SEPARATOR_ICONS_poignee-de-main_POWER_USER_SEPARATOR_ICONS_solidarity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82</TotalTime>
  <Words>359</Words>
  <Application>Microsoft Macintosh PowerPoint</Application>
  <PresentationFormat>Geniş ekran</PresentationFormat>
  <Paragraphs>127</Paragraphs>
  <Slides>10</Slides>
  <Notes>10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4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10</vt:i4>
      </vt:variant>
    </vt:vector>
  </HeadingPairs>
  <TitlesOfParts>
    <vt:vector size="15" baseType="lpstr">
      <vt:lpstr>Arial</vt:lpstr>
      <vt:lpstr>Calibri</vt:lpstr>
      <vt:lpstr>Calibri Light</vt:lpstr>
      <vt:lpstr>Wingdings</vt:lpstr>
      <vt:lpstr>Office Teması</vt:lpstr>
      <vt:lpstr>PowerPoint Sunusu</vt:lpstr>
      <vt:lpstr>SUNUM PLANI</vt:lpstr>
      <vt:lpstr> AKILLI ŞEBEKE KAVRAMI</vt:lpstr>
      <vt:lpstr> SAYAÇ SİSTEMLERİ YAPISI </vt:lpstr>
      <vt:lpstr> MASS PROJE SÜRECİ</vt:lpstr>
      <vt:lpstr>ALT KOMİSYONLAR</vt:lpstr>
      <vt:lpstr>MASS GEREKLİLİĞİ VE SİSTEM BİLEŞENLERİ</vt:lpstr>
      <vt:lpstr>AKILLI SAYAÇ SİSTEMLERİ İLE OLUŞACAK KAZANIMLAR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İÇİNDEKİLER</dc:title>
  <dc:creator>Bora ERSERIN</dc:creator>
  <cp:lastModifiedBy>I M</cp:lastModifiedBy>
  <cp:revision>137</cp:revision>
  <dcterms:created xsi:type="dcterms:W3CDTF">2019-12-16T12:22:52Z</dcterms:created>
  <dcterms:modified xsi:type="dcterms:W3CDTF">2020-10-22T12:20:53Z</dcterms:modified>
</cp:coreProperties>
</file>